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 id="2147483698" r:id="rId2"/>
    <p:sldMasterId id="2147483716" r:id="rId3"/>
    <p:sldMasterId id="2147483735" r:id="rId4"/>
    <p:sldMasterId id="2147483753" r:id="rId5"/>
    <p:sldMasterId id="2147483781" r:id="rId6"/>
  </p:sldMasterIdLst>
  <p:notesMasterIdLst>
    <p:notesMasterId r:id="rId29"/>
  </p:notesMasterIdLst>
  <p:sldIdLst>
    <p:sldId id="370" r:id="rId7"/>
    <p:sldId id="378" r:id="rId8"/>
    <p:sldId id="317" r:id="rId9"/>
    <p:sldId id="381" r:id="rId10"/>
    <p:sldId id="373" r:id="rId11"/>
    <p:sldId id="380" r:id="rId12"/>
    <p:sldId id="374" r:id="rId13"/>
    <p:sldId id="403" r:id="rId14"/>
    <p:sldId id="404" r:id="rId15"/>
    <p:sldId id="405" r:id="rId16"/>
    <p:sldId id="387" r:id="rId17"/>
    <p:sldId id="388" r:id="rId18"/>
    <p:sldId id="389" r:id="rId19"/>
    <p:sldId id="390" r:id="rId20"/>
    <p:sldId id="367" r:id="rId21"/>
    <p:sldId id="392" r:id="rId22"/>
    <p:sldId id="393" r:id="rId23"/>
    <p:sldId id="394" r:id="rId24"/>
    <p:sldId id="395" r:id="rId25"/>
    <p:sldId id="396" r:id="rId26"/>
    <p:sldId id="407" r:id="rId27"/>
    <p:sldId id="402"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le McKay" initials="d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C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70" autoAdjust="0"/>
    <p:restoredTop sz="98389" autoAdjust="0"/>
  </p:normalViewPr>
  <p:slideViewPr>
    <p:cSldViewPr>
      <p:cViewPr>
        <p:scale>
          <a:sx n="75" d="100"/>
          <a:sy n="75" d="100"/>
        </p:scale>
        <p:origin x="-432" y="-42"/>
      </p:cViewPr>
      <p:guideLst>
        <p:guide orient="horz" pos="2160"/>
        <p:guide pos="3840"/>
      </p:guideLst>
    </p:cSldViewPr>
  </p:slideViewPr>
  <p:notesTextViewPr>
    <p:cViewPr>
      <p:scale>
        <a:sx n="100" d="100"/>
        <a:sy n="100" d="100"/>
      </p:scale>
      <p:origin x="0" y="0"/>
    </p:cViewPr>
  </p:notesTextViewPr>
  <p:sorterViewPr>
    <p:cViewPr varScale="1">
      <p:scale>
        <a:sx n="1" d="1"/>
        <a:sy n="1" d="1"/>
      </p:scale>
      <p:origin x="0" y="-5491"/>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3.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日期版面配置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EFA6A8-D0E7-4E64-A734-C3B5A9231337}" type="datetimeFigureOut">
              <a:rPr lang="en-US" smtClean="0"/>
              <a:pPr/>
              <a:t>6/9/2014</a:t>
            </a:fld>
            <a:endParaRPr lang="en-US"/>
          </a:p>
        </p:txBody>
      </p:sp>
      <p:sp>
        <p:nvSpPr>
          <p:cNvPr id="4" name="投影片圖像版面配置區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備忘稿版面配置區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a:p>
        </p:txBody>
      </p:sp>
      <p:sp>
        <p:nvSpPr>
          <p:cNvPr id="6" name="頁尾版面配置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投影片編號版面配置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A31977-5898-41D6-9C6C-858277DCE098}" type="slidenum">
              <a:rPr lang="en-US" smtClean="0"/>
              <a:pPr/>
              <a:t>‹#›</a:t>
            </a:fld>
            <a:endParaRPr lang="en-US"/>
          </a:p>
        </p:txBody>
      </p:sp>
    </p:spTree>
    <p:extLst>
      <p:ext uri="{BB962C8B-B14F-4D97-AF65-F5344CB8AC3E}">
        <p14:creationId xmlns:p14="http://schemas.microsoft.com/office/powerpoint/2010/main" val="12520197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132744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761971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89203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C08E7BB7-F6AA-4CA1-BCB9-E21ABEED9B25}" type="slidenum">
              <a:rPr lang="zh-TW" altLang="en-US" smtClean="0"/>
              <a:t>18</a:t>
            </a:fld>
            <a:endParaRPr lang="zh-TW" altLang="en-US"/>
          </a:p>
        </p:txBody>
      </p:sp>
    </p:spTree>
    <p:extLst>
      <p:ext uri="{BB962C8B-B14F-4D97-AF65-F5344CB8AC3E}">
        <p14:creationId xmlns:p14="http://schemas.microsoft.com/office/powerpoint/2010/main" val="3010252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TW" altLang="en-US" dirty="0"/>
          </a:p>
        </p:txBody>
      </p:sp>
      <p:sp>
        <p:nvSpPr>
          <p:cNvPr id="4" name="Slide Number Placeholder 3"/>
          <p:cNvSpPr>
            <a:spLocks noGrp="1"/>
          </p:cNvSpPr>
          <p:nvPr>
            <p:ph type="sldNum" sz="quarter" idx="10"/>
          </p:nvPr>
        </p:nvSpPr>
        <p:spPr/>
        <p:txBody>
          <a:bodyPr/>
          <a:lstStyle/>
          <a:p>
            <a:fld id="{C08E7BB7-F6AA-4CA1-BCB9-E21ABEED9B25}" type="slidenum">
              <a:rPr lang="zh-TW" altLang="en-US" smtClean="0"/>
              <a:t>20</a:t>
            </a:fld>
            <a:endParaRPr lang="zh-TW" altLang="en-US"/>
          </a:p>
        </p:txBody>
      </p:sp>
    </p:spTree>
    <p:extLst>
      <p:ext uri="{BB962C8B-B14F-4D97-AF65-F5344CB8AC3E}">
        <p14:creationId xmlns:p14="http://schemas.microsoft.com/office/powerpoint/2010/main" val="1545555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679" indent="-176679">
              <a:buFont typeface="Arial" panose="020B0604020202020204" pitchFamily="34" charset="0"/>
              <a:buChar char="•"/>
            </a:pPr>
            <a:r>
              <a:rPr lang="en-IN" dirty="0" smtClean="0"/>
              <a:t>http://www.knu.edu.tw/knu/page/POR/news_inside.aspx?SNO=1985</a:t>
            </a:r>
            <a:endParaRPr lang="en-IN"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4A88968-487C-4FD8-9D85-7F0A29F4D6EA}"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925806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D23A778C-7E63-46D2-9F3E-2A5DF18E34D7}" type="datetime1">
              <a:rPr lang="en-US" smtClean="0">
                <a:solidFill>
                  <a:prstClr val="black"/>
                </a:solidFill>
              </a:rPr>
              <a:pPr/>
              <a:t>6/9/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
        <p:nvSpPr>
          <p:cNvPr id="6" name="Header Placeholder 5"/>
          <p:cNvSpPr>
            <a:spLocks noGrp="1"/>
          </p:cNvSpPr>
          <p:nvPr>
            <p:ph type="hdr" sz="quarter" idx="12"/>
          </p:nvPr>
        </p:nvSpPr>
        <p:spPr/>
        <p:txBody>
          <a:bodyPr/>
          <a:lstStyle/>
          <a:p>
            <a:endParaRPr lang="en-US" dirty="0">
              <a:solidFill>
                <a:prstClr val="black"/>
              </a:solidFill>
              <a:latin typeface="Segoe UI" pitchFamily="34" charset="0"/>
            </a:endParaRPr>
          </a:p>
        </p:txBody>
      </p:sp>
      <p:sp>
        <p:nvSpPr>
          <p:cNvPr id="7" name="Footer Placeholder 6"/>
          <p:cNvSpPr>
            <a:spLocks noGrp="1"/>
          </p:cNvSpPr>
          <p:nvPr>
            <p:ph type="ftr" sz="quarter" idx="13"/>
          </p:nvPr>
        </p:nvSpPr>
        <p:spPr/>
        <p:txBody>
          <a:bodyPr/>
          <a:lstStyle/>
          <a:p>
            <a:r>
              <a:rPr lang="en-US">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latin typeface="Segoe UI" pitchFamily="34" charset="0"/>
              </a:rPr>
            </a:br>
            <a:r>
              <a:rPr lang="en-US">
                <a:solidFill>
                  <a:srgbClr val="000000"/>
                </a:solidFill>
                <a:latin typeface="Segoe UI" pitchFamily="34" charset="0"/>
              </a:rPr>
              <a:t>MICROSOFT MAKES NO WARRANTIES, EXPRESS, IMPLIED OR STATUTORY, AS TO THE INFORMATION IN THIS PRESENTATION.</a:t>
            </a:r>
            <a:endParaRPr lang="en-US" dirty="0">
              <a:solidFill>
                <a:srgbClr val="000000"/>
              </a:solidFill>
              <a:latin typeface="Segoe UI" pitchFamily="34" charset="0"/>
            </a:endParaRPr>
          </a:p>
        </p:txBody>
      </p:sp>
    </p:spTree>
    <p:extLst>
      <p:ext uri="{BB962C8B-B14F-4D97-AF65-F5344CB8AC3E}">
        <p14:creationId xmlns:p14="http://schemas.microsoft.com/office/powerpoint/2010/main" val="2455488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0513" y="708025"/>
            <a:ext cx="6300787" cy="3544888"/>
          </a:xfrm>
        </p:spPr>
      </p:sp>
      <p:sp>
        <p:nvSpPr>
          <p:cNvPr id="3" name="Notes Placeholder 2"/>
          <p:cNvSpPr>
            <a:spLocks noGrp="1"/>
          </p:cNvSpPr>
          <p:nvPr>
            <p:ph type="body" idx="1"/>
          </p:nvPr>
        </p:nvSpPr>
        <p:spPr/>
        <p:txBody>
          <a:bodyPr>
            <a:normAutofit/>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Slide Objectives:</a:t>
            </a:r>
            <a:endParaRPr lang="en-US" sz="1600" kern="1200" dirty="0" smtClean="0">
              <a:solidFill>
                <a:schemeClr val="tx1"/>
              </a:solidFill>
              <a:effectLst/>
              <a:latin typeface="Segoe UI" pitchFamily="34" charset="0"/>
              <a:ea typeface="+mn-ea"/>
              <a:cs typeface="+mn-cs"/>
            </a:endParaRPr>
          </a:p>
          <a:p>
            <a:r>
              <a:rPr lang="en-US" dirty="0" smtClean="0"/>
              <a:t>Explain the difference</a:t>
            </a:r>
            <a:r>
              <a:rPr lang="en-US" baseline="0" dirty="0" smtClean="0"/>
              <a:t>s between traditional self-hosting and the three options of Windows Azure hosting.</a:t>
            </a:r>
          </a:p>
          <a:p>
            <a:endParaRPr lang="en-US" baseline="0" dirty="0" smtClean="0"/>
          </a:p>
          <a:p>
            <a:pPr marL="0" marR="0" indent="0" algn="l" defTabSz="1218987" rtl="0" eaLnBrk="1" fontAlgn="auto" latinLnBrk="0" hangingPunct="1">
              <a:lnSpc>
                <a:spcPct val="100000"/>
              </a:lnSpc>
              <a:spcBef>
                <a:spcPts val="0"/>
              </a:spcBef>
              <a:spcAft>
                <a:spcPts val="0"/>
              </a:spcAft>
              <a:buClrTx/>
              <a:buSzTx/>
              <a:buFontTx/>
              <a:buNone/>
              <a:tabLst/>
              <a:defRPr/>
            </a:pPr>
            <a:r>
              <a:rPr lang="en-US" sz="1600" b="1" kern="1200" dirty="0" smtClean="0">
                <a:solidFill>
                  <a:schemeClr val="tx1"/>
                </a:solidFill>
                <a:effectLst/>
                <a:latin typeface="Segoe UI" pitchFamily="34" charset="0"/>
                <a:ea typeface="+mn-ea"/>
                <a:cs typeface="+mn-cs"/>
              </a:rPr>
              <a:t>Notes:</a:t>
            </a:r>
            <a:endParaRPr lang="en-US" sz="1200" b="0" kern="1200" baseline="0" dirty="0" smtClean="0">
              <a:solidFill>
                <a:schemeClr val="tx1"/>
              </a:solidFill>
              <a:effectLst/>
              <a:latin typeface="+mn-lt"/>
              <a:ea typeface="+mn-ea"/>
              <a:cs typeface="+mn-cs"/>
            </a:endParaRPr>
          </a:p>
          <a:p>
            <a:pPr marL="0" marR="0" indent="0" algn="l" defTabSz="1218987" rtl="0" eaLnBrk="1" fontAlgn="auto" latinLnBrk="0" hangingPunct="1">
              <a:lnSpc>
                <a:spcPct val="100000"/>
              </a:lnSpc>
              <a:spcBef>
                <a:spcPts val="0"/>
              </a:spcBef>
              <a:spcAft>
                <a:spcPts val="0"/>
              </a:spcAft>
              <a:buClrTx/>
              <a:buSzTx/>
              <a:buFontTx/>
              <a:buNone/>
              <a:tabLst/>
              <a:defRPr/>
            </a:pPr>
            <a:r>
              <a:rPr lang="en-US" sz="1200" b="0" kern="1200" baseline="0" dirty="0" smtClean="0">
                <a:solidFill>
                  <a:schemeClr val="tx1"/>
                </a:solidFill>
                <a:effectLst/>
                <a:latin typeface="+mn-lt"/>
                <a:ea typeface="+mn-ea"/>
                <a:cs typeface="+mn-cs"/>
              </a:rPr>
              <a:t>In a traditional environment you must manage the full stack. With Windows Azure you can choose a variety of options depending on your needs.</a:t>
            </a:r>
            <a:endParaRPr lang="en-US" sz="16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298501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695025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925011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9855813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607672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Extend your Datacenter </a:t>
            </a:r>
            <a:endParaRPr lang="en-US" dirty="0"/>
          </a:p>
          <a:p>
            <a:r>
              <a:rPr lang="en-US" dirty="0"/>
              <a:t> </a:t>
            </a:r>
          </a:p>
          <a:p>
            <a:r>
              <a:rPr lang="en-US" dirty="0"/>
              <a:t>Own the base, rent the rest! Extend your datacenter by building capacity on-demand.</a:t>
            </a:r>
          </a:p>
          <a:p>
            <a:r>
              <a:rPr lang="en-US" dirty="0"/>
              <a:t> </a:t>
            </a:r>
          </a:p>
          <a:p>
            <a:pPr marL="0" marR="0" indent="0" algn="l" defTabSz="932503" rtl="0" eaLnBrk="1" fontAlgn="auto" latinLnBrk="0" hangingPunct="1">
              <a:lnSpc>
                <a:spcPct val="90000"/>
              </a:lnSpc>
              <a:spcBef>
                <a:spcPts val="0"/>
              </a:spcBef>
              <a:spcAft>
                <a:spcPts val="340"/>
              </a:spcAft>
              <a:buClrTx/>
              <a:buSzTx/>
              <a:buFontTx/>
              <a:buNone/>
              <a:tabLst/>
              <a:defRPr/>
            </a:pPr>
            <a:r>
              <a:rPr lang="en-US" dirty="0"/>
              <a:t>With Windows Azure, you can literally create a virtual “datacenter” in the Cloud. You can do this by leveraging a feature called </a:t>
            </a:r>
            <a:r>
              <a:rPr lang="en-US" b="1" dirty="0"/>
              <a:t>Virtual </a:t>
            </a:r>
            <a:r>
              <a:rPr lang="en-US" b="1" dirty="0" smtClean="0"/>
              <a:t>Network (VNET) </a:t>
            </a:r>
            <a:r>
              <a:rPr lang="en-US" dirty="0"/>
              <a:t>which allows you to </a:t>
            </a:r>
            <a:r>
              <a:rPr lang="en-US" dirty="0" smtClean="0"/>
              <a:t>create a logically isolated section of Azure </a:t>
            </a:r>
            <a:r>
              <a:rPr lang="en-US" dirty="0"/>
              <a:t>and treat it like your own network. You can </a:t>
            </a:r>
            <a:r>
              <a:rPr lang="en-US" dirty="0" smtClean="0"/>
              <a:t>customize</a:t>
            </a:r>
            <a:r>
              <a:rPr lang="en-US" baseline="0" dirty="0" smtClean="0"/>
              <a:t> the network configuration for a VNET - </a:t>
            </a:r>
            <a:r>
              <a:rPr lang="en-US" dirty="0" smtClean="0"/>
              <a:t>create </a:t>
            </a:r>
            <a:r>
              <a:rPr lang="en-US" dirty="0"/>
              <a:t>subnets, assign private IP addresses and bring your own DNS server if you wish. </a:t>
            </a:r>
            <a:r>
              <a:rPr lang="en-US" sz="1000" b="0" i="0" kern="1200" dirty="0" smtClean="0">
                <a:solidFill>
                  <a:schemeClr val="tx1"/>
                </a:solidFill>
                <a:effectLst/>
                <a:latin typeface="Segoe UI Light" pitchFamily="34" charset="0"/>
                <a:ea typeface="+mn-ea"/>
                <a:cs typeface="+mn-cs"/>
              </a:rPr>
              <a:t> Within a virtual network for example, you can create a public-facing subnet for your webservers that has access to the Internet, and place your backend systems such as databases or application servers in a private-facing subnet with no Internet access.</a:t>
            </a:r>
            <a:endParaRPr lang="en-US" dirty="0" smtClean="0"/>
          </a:p>
          <a:p>
            <a:endParaRPr lang="en-US" dirty="0" smtClean="0"/>
          </a:p>
          <a:p>
            <a:endParaRPr lang="en-US" dirty="0" smtClean="0"/>
          </a:p>
          <a:p>
            <a:r>
              <a:rPr lang="en-US" dirty="0"/>
              <a:t> </a:t>
            </a:r>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458125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Of course, once you set up VPN connectivity, you’re treating the virtual network in Azure almost as if it were an </a:t>
            </a:r>
            <a:r>
              <a:rPr lang="en-US" b="1" dirty="0"/>
              <a:t>extension of your on-</a:t>
            </a:r>
            <a:r>
              <a:rPr lang="en-US" b="1" dirty="0" err="1"/>
              <a:t>prem</a:t>
            </a:r>
            <a:r>
              <a:rPr lang="en-US" b="1" dirty="0"/>
              <a:t> datacenter</a:t>
            </a:r>
            <a:r>
              <a:rPr lang="en-US" dirty="0"/>
              <a:t>. You can domain join your VMs with an AD running on-premises or an AD running inside of the virtual network.  You can have hybrid multi-tier apps with perhaps the presentation and logic tiers running in Azure, and the database tier running on-premises for compliance reasons. </a:t>
            </a:r>
          </a:p>
          <a:p>
            <a:r>
              <a:rPr lang="en-US" dirty="0"/>
              <a:t> </a:t>
            </a:r>
          </a:p>
          <a:p>
            <a:r>
              <a:rPr lang="en-US" dirty="0"/>
              <a:t>A good example is SharePoint that uses all of the features we outlined (cross-premises VPN connectivity, Active Directory, VMs). </a:t>
            </a:r>
          </a:p>
          <a:p>
            <a:r>
              <a:rPr lang="en-US" dirty="0"/>
              <a:t> </a:t>
            </a:r>
          </a:p>
          <a:p>
            <a:r>
              <a:rPr lang="en-US" dirty="0"/>
              <a:t>Windows Azure provides first party tested Windows Server images for easily deploying SharePoint, SQL and Active Directory. </a:t>
            </a:r>
          </a:p>
          <a:p>
            <a:r>
              <a:rPr lang="en-US" dirty="0"/>
              <a:t> </a:t>
            </a:r>
          </a:p>
          <a:p>
            <a:r>
              <a:rPr lang="en-US" dirty="0"/>
              <a:t>&lt;From </a:t>
            </a:r>
            <a:r>
              <a:rPr lang="en-US" dirty="0" err="1"/>
              <a:t>IaaS</a:t>
            </a:r>
            <a:r>
              <a:rPr lang="en-US" dirty="0"/>
              <a:t> scenario for </a:t>
            </a:r>
            <a:r>
              <a:rPr lang="en-US" dirty="0" err="1"/>
              <a:t>Sharepoint</a:t>
            </a:r>
            <a:r>
              <a:rPr lang="en-US" dirty="0"/>
              <a:t>&gt;</a:t>
            </a:r>
          </a:p>
          <a:p>
            <a:pPr lvl="0"/>
            <a:r>
              <a:rPr lang="en-US" dirty="0"/>
              <a:t>When you need more from your </a:t>
            </a:r>
            <a:r>
              <a:rPr lang="en-US" b="1" dirty="0"/>
              <a:t>collaboration infrastructure </a:t>
            </a:r>
            <a:r>
              <a:rPr lang="en-US" dirty="0"/>
              <a:t>vs. Office 365 and the ability scale in real time, count on Windows Azure. Start with </a:t>
            </a:r>
            <a:r>
              <a:rPr lang="en-US" dirty="0" err="1"/>
              <a:t>dev</a:t>
            </a:r>
            <a:r>
              <a:rPr lang="en-US" dirty="0"/>
              <a:t> &amp; test work and maintain control as you grow.  You can deeply customize with full trust custom code on top of Windows Azure infrastructure services. Support provided directly by Microsoft.</a:t>
            </a:r>
          </a:p>
          <a:p>
            <a:pPr lvl="0"/>
            <a:r>
              <a:rPr lang="en-US" b="1" dirty="0"/>
              <a:t>Internet sites with SharePoint: </a:t>
            </a:r>
            <a:r>
              <a:rPr lang="en-US" dirty="0"/>
              <a:t>When you need to roll-out customized public or anonymous internet sites, count on Windows Azure. You can closely manage your infrastructure versus Office 365 and get real time scalable resources vs. on-premises datacenters. Get started quickly with direct Microsoft supported images.</a:t>
            </a:r>
          </a:p>
          <a:p>
            <a:r>
              <a:rPr lang="en-US" dirty="0"/>
              <a:t> </a:t>
            </a:r>
          </a:p>
          <a:p>
            <a:r>
              <a:rPr lang="en-US" dirty="0"/>
              <a:t>&lt;From </a:t>
            </a:r>
            <a:r>
              <a:rPr lang="en-US" dirty="0" err="1"/>
              <a:t>IaaS</a:t>
            </a:r>
            <a:r>
              <a:rPr lang="en-US" dirty="0"/>
              <a:t> scenario for AD&gt;</a:t>
            </a:r>
          </a:p>
          <a:p>
            <a:r>
              <a:rPr lang="en-US" b="1" dirty="0"/>
              <a:t>Identity with AD in Virtual Machines</a:t>
            </a:r>
            <a:endParaRPr lang="en-US" dirty="0"/>
          </a:p>
          <a:p>
            <a:pPr lvl="0"/>
            <a:r>
              <a:rPr lang="en-US" b="1" dirty="0"/>
              <a:t>Hybrid apps and hybrid IT: </a:t>
            </a:r>
            <a:r>
              <a:rPr lang="en-US" dirty="0"/>
              <a:t>When apps live both in the cloud and on-premises, and need to synch with on-premises directory, simply bring </a:t>
            </a:r>
            <a:r>
              <a:rPr lang="en-US" dirty="0" err="1"/>
              <a:t>DirSync</a:t>
            </a:r>
            <a:r>
              <a:rPr lang="en-US" dirty="0"/>
              <a:t> into Virtual Machines. </a:t>
            </a:r>
          </a:p>
          <a:p>
            <a:pPr lvl="0"/>
            <a:r>
              <a:rPr lang="en-US" b="1" dirty="0"/>
              <a:t>Specific AD capabilities in the cloud: </a:t>
            </a:r>
            <a:r>
              <a:rPr lang="en-US" dirty="0"/>
              <a:t>When applications in need of on-premises optimized AD capabilities are moving to cloud and Windows Azure Active Directory is not the solution, bring your AD into Virtual Machines. Same AD, same skill sets and same trustworthy capabilities. </a:t>
            </a:r>
          </a:p>
          <a:p>
            <a:r>
              <a:rPr lang="en-US" b="1" dirty="0"/>
              <a:t>Identity synch with Office 365: </a:t>
            </a:r>
            <a:r>
              <a:rPr lang="en-US" dirty="0"/>
              <a:t>When you need  to synch identity with O365 and want to minimize your on premise identity infrastructure, rely on running AD in Virtual Machines. Even when you have an on-premises identity infrastructure synching with Office 365, simply build your high availability copy in Virtual Machines and keep working when internet connectivity is down.</a:t>
            </a:r>
          </a:p>
          <a:p>
            <a:r>
              <a:rPr lang="en-US" dirty="0"/>
              <a:t> </a:t>
            </a:r>
          </a:p>
          <a:p>
            <a:r>
              <a:rPr lang="en-US" dirty="0"/>
              <a:t>&lt;From </a:t>
            </a:r>
            <a:r>
              <a:rPr lang="en-US" dirty="0" err="1"/>
              <a:t>IaaS</a:t>
            </a:r>
            <a:r>
              <a:rPr lang="en-US" dirty="0"/>
              <a:t> scenario for Scalable, On-Demand Infrastructure For .NET apps&gt;</a:t>
            </a:r>
          </a:p>
          <a:p>
            <a:pPr lvl="0"/>
            <a:r>
              <a:rPr lang="en-US" dirty="0"/>
              <a:t>When you need to accommodate variable and increasing needs of </a:t>
            </a:r>
            <a:r>
              <a:rPr lang="en-US" b="1" dirty="0"/>
              <a:t>.NET and Windows Server apps</a:t>
            </a:r>
            <a:r>
              <a:rPr lang="en-US" dirty="0"/>
              <a:t>, spin up trustworthy infrastructure with no code changes required.  And, it is more than just infrastructure. Use Windows Azure building blocks – such as Service Bus or Media Services and many more from partners in Windows Azure Store – to boost your existing app.</a:t>
            </a:r>
          </a:p>
          <a:p>
            <a:pPr lvl="0"/>
            <a:r>
              <a:rPr lang="en-US" dirty="0"/>
              <a:t>When you want to participate in software as a service business model as an app vendor and </a:t>
            </a:r>
            <a:r>
              <a:rPr lang="en-US" b="1" dirty="0"/>
              <a:t>host </a:t>
            </a:r>
            <a:r>
              <a:rPr lang="en-US" dirty="0"/>
              <a:t>all or part of an existing .NET or Windows Server app in the cloud with no changes, build your offer on scalable, trustworthy Windows Azure infrastructure.</a:t>
            </a:r>
          </a:p>
          <a:p>
            <a:r>
              <a:rPr lang="en-US" dirty="0"/>
              <a:t> </a:t>
            </a:r>
          </a:p>
          <a:p>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solidFill>
                  <a:prstClr val="black"/>
                </a:solidFill>
              </a:rPr>
              <a:pPr/>
              <a:t>6/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945238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5.xml"/><Relationship Id="rId4" Type="http://schemas.openxmlformats.org/officeDocument/2006/relationships/tags" Target="../tags/tag3.xml"/><Relationship Id="rId9" Type="http://schemas.openxmlformats.org/officeDocument/2006/relationships/tags" Target="../tags/tag8.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oleObject" Target="../embeddings/oleObject2.bin"/><Relationship Id="rId5" Type="http://schemas.openxmlformats.org/officeDocument/2006/relationships/tags" Target="../tags/tag12.xml"/><Relationship Id="rId10" Type="http://schemas.openxmlformats.org/officeDocument/2006/relationships/slideMaster" Target="../slideMasters/slideMaster5.xml"/><Relationship Id="rId4" Type="http://schemas.openxmlformats.org/officeDocument/2006/relationships/tags" Target="../tags/tag11.xml"/><Relationship Id="rId9" Type="http://schemas.openxmlformats.org/officeDocument/2006/relationships/tags" Target="../tags/tag1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3671" y="1905007"/>
            <a:ext cx="10242551" cy="1523495"/>
          </a:xfrm>
        </p:spPr>
        <p:txBody>
          <a:bodyPr>
            <a:noAutofit/>
          </a:bodyPr>
          <a:lstStyle>
            <a:lvl1pPr>
              <a:lnSpc>
                <a:spcPct val="90000"/>
              </a:lnSpc>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973670" y="4344995"/>
            <a:ext cx="10242551" cy="461665"/>
          </a:xfrm>
        </p:spPr>
        <p:txBody>
          <a:bodyPr>
            <a:noAutofit/>
          </a:bodyPr>
          <a:lstStyle>
            <a:lvl1pPr marL="0" indent="0" algn="l">
              <a:lnSpc>
                <a:spcPct val="90000"/>
              </a:lnSpc>
              <a:spcBef>
                <a:spcPts val="0"/>
              </a:spcBef>
              <a:buNone/>
              <a:defRPr lang="en-US" sz="3200" kern="1200" dirty="0">
                <a:gradFill>
                  <a:gsLst>
                    <a:gs pos="0">
                      <a:schemeClr val="tx1"/>
                    </a:gs>
                    <a:gs pos="100000">
                      <a:schemeClr val="tx1"/>
                    </a:gs>
                  </a:gsLst>
                  <a:lin ang="16200000" scaled="0"/>
                </a:gradFill>
                <a:latin typeface="Segoe UI" pitchFamily="34" charset="0"/>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strips dir="rd"/>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8907" y="6297943"/>
            <a:ext cx="1703188" cy="408657"/>
          </a:xfrm>
          <a:prstGeom prst="rect">
            <a:avLst/>
          </a:prstGeom>
        </p:spPr>
      </p:pic>
      <p:sp>
        <p:nvSpPr>
          <p:cNvPr id="11" name="Slide Number Placeholder 5"/>
          <p:cNvSpPr txBox="1">
            <a:spLocks/>
          </p:cNvSpPr>
          <p:nvPr/>
        </p:nvSpPr>
        <p:spPr>
          <a:xfrm>
            <a:off x="11531481" y="7225045"/>
            <a:ext cx="430129" cy="228169"/>
          </a:xfrm>
          <a:prstGeom prst="rect">
            <a:avLst/>
          </a:prstGeom>
        </p:spPr>
        <p:txBody>
          <a:bodyPr lIns="67226" tIns="33612" rIns="67226" bIns="33612"/>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588" dirty="0" smtClean="0">
                <a:solidFill>
                  <a:srgbClr val="FFFFFF"/>
                </a:solidFill>
              </a:rPr>
              <a:t>3</a:t>
            </a:r>
            <a:endParaRPr lang="en-US" sz="588" dirty="0">
              <a:solidFill>
                <a:srgbClr val="FFFFFF"/>
              </a:solidFill>
            </a:endParaRPr>
          </a:p>
        </p:txBody>
      </p:sp>
      <p:sp>
        <p:nvSpPr>
          <p:cNvPr id="16" name="Title 1"/>
          <p:cNvSpPr>
            <a:spLocks noGrp="1"/>
          </p:cNvSpPr>
          <p:nvPr>
            <p:ph type="title" hasCustomPrompt="1"/>
          </p:nvPr>
        </p:nvSpPr>
        <p:spPr>
          <a:xfrm>
            <a:off x="266921" y="289512"/>
            <a:ext cx="11655840" cy="664797"/>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66927" y="1008623"/>
            <a:ext cx="11655835" cy="718466"/>
          </a:xfrm>
          <a:noFill/>
        </p:spPr>
        <p:txBody>
          <a:bodyPr lIns="146290" tIns="109717" rIns="146290" bIns="109717">
            <a:noAutofit/>
          </a:bodyPr>
          <a:lstStyle>
            <a:lvl1pPr marL="0" indent="0">
              <a:spcBef>
                <a:spcPts val="0"/>
              </a:spcBef>
              <a:buNone/>
              <a:defRPr sz="2059"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3777009202"/>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235218"/>
            <a:ext cx="11155093" cy="917880"/>
          </a:xfrm>
        </p:spPr>
        <p:txBody>
          <a:bodyPr anchor="b" anchorCtr="0">
            <a:spAutoFit/>
          </a:bodyPr>
          <a:lstStyle>
            <a:lvl1pPr>
              <a:defRPr sz="5294" spc="-11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621324"/>
          </a:xfrm>
        </p:spPr>
        <p:txBody>
          <a:bodyPr>
            <a:spAutoFit/>
          </a:bodyPr>
          <a:lstStyle>
            <a:lvl1pPr marL="0" indent="0">
              <a:spcBef>
                <a:spcPts val="0"/>
              </a:spcBef>
              <a:buNone/>
              <a:defRPr sz="2353" spc="-52"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56579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4" y="1"/>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685669"/>
            <a:endParaRPr lang="en-US" sz="1324">
              <a:solidFill>
                <a:srgbClr val="EFEFEF"/>
              </a:solidFill>
            </a:endParaRPr>
          </a:p>
        </p:txBody>
      </p:sp>
      <p:sp>
        <p:nvSpPr>
          <p:cNvPr id="2" name="Title 1"/>
          <p:cNvSpPr>
            <a:spLocks noGrp="1"/>
          </p:cNvSpPr>
          <p:nvPr>
            <p:ph type="title" hasCustomPrompt="1"/>
          </p:nvPr>
        </p:nvSpPr>
        <p:spPr>
          <a:xfrm>
            <a:off x="5647788" y="1187621"/>
            <a:ext cx="6274973" cy="917880"/>
          </a:xfrm>
        </p:spPr>
        <p:txBody>
          <a:bodyPr wrap="square" anchor="t" anchorCtr="0">
            <a:spAutoFit/>
          </a:bodyPr>
          <a:lstStyle>
            <a:lvl1pPr>
              <a:defRPr sz="5294" spc="-11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3" cy="621324"/>
          </a:xfrm>
        </p:spPr>
        <p:txBody>
          <a:bodyPr wrap="square">
            <a:spAutoFit/>
          </a:bodyPr>
          <a:lstStyle>
            <a:lvl1pPr marL="0" indent="0">
              <a:spcBef>
                <a:spcPts val="0"/>
              </a:spcBef>
              <a:buNone/>
              <a:defRPr sz="2353" spc="-52"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72137" fontAlgn="base">
              <a:lnSpc>
                <a:spcPct val="90000"/>
              </a:lnSpc>
              <a:spcBef>
                <a:spcPct val="0"/>
              </a:spcBef>
              <a:spcAft>
                <a:spcPct val="0"/>
              </a:spcAft>
              <a:defRPr/>
            </a:pPr>
            <a:endParaRPr lang="en-US" sz="1471" kern="0" spc="-37"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1130271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pos="23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3235743"/>
            <a:ext cx="11155093" cy="917880"/>
          </a:xfrm>
        </p:spPr>
        <p:txBody>
          <a:bodyPr anchor="b" anchorCtr="0">
            <a:spAutoFit/>
          </a:bodyPr>
          <a:lstStyle>
            <a:lvl1pPr>
              <a:defRPr sz="5294" spc="-11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621324"/>
          </a:xfrm>
        </p:spPr>
        <p:txBody>
          <a:bodyPr>
            <a:spAutoFit/>
          </a:bodyPr>
          <a:lstStyle>
            <a:lvl1pPr marL="0" indent="0">
              <a:spcBef>
                <a:spcPts val="0"/>
              </a:spcBef>
              <a:buNone/>
              <a:defRPr sz="2353"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57035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3"/>
            <a:ext cx="11151917" cy="734625"/>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1698798"/>
          </a:xfrm>
          <a:prstGeom prst="rect">
            <a:avLst/>
          </a:prstGeom>
        </p:spPr>
        <p:txBody>
          <a:bodyPr>
            <a:spAutoFit/>
          </a:bodyPr>
          <a:lstStyle>
            <a:lvl1pPr marL="213145" indent="-213145">
              <a:buFont typeface="Wingdings" pitchFamily="2" charset="2"/>
              <a:buChar char=""/>
              <a:defRPr sz="2941"/>
            </a:lvl1pPr>
            <a:lvl2pPr marL="388185" indent="-175041">
              <a:buFont typeface="Wingdings" pitchFamily="2" charset="2"/>
              <a:buChar char=""/>
              <a:defRPr sz="1765" spc="-38" baseline="0">
                <a:latin typeface="+mn-lt"/>
              </a:defRPr>
            </a:lvl2pPr>
            <a:lvl3pPr marL="556081" indent="-167896">
              <a:buFont typeface="Wingdings" pitchFamily="2" charset="2"/>
              <a:buChar char=""/>
              <a:tabLst/>
              <a:defRPr sz="1471" spc="-38" baseline="0">
                <a:latin typeface="+mn-lt"/>
              </a:defRPr>
            </a:lvl3pPr>
            <a:lvl4pPr marL="685872" indent="-129792">
              <a:buFont typeface="Wingdings" pitchFamily="2" charset="2"/>
              <a:buChar char=""/>
              <a:defRPr sz="1324" spc="-38" baseline="0">
                <a:latin typeface="+mn-lt"/>
              </a:defRPr>
            </a:lvl4pPr>
            <a:lvl5pPr marL="815665" indent="-129792">
              <a:buFont typeface="Wingdings" pitchFamily="2" charset="2"/>
              <a:buChar char=""/>
              <a:tabLst/>
              <a:defRPr sz="1324" spc="-38"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497338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2"/>
            <a:ext cx="11151917" cy="1649041"/>
          </a:xfrm>
          <a:prstGeom prst="rect">
            <a:avLst/>
          </a:prstGeom>
        </p:spPr>
        <p:txBody>
          <a:bodyPr>
            <a:spAutoFit/>
          </a:bodyPr>
          <a:lstStyle>
            <a:lvl1pPr marL="0" indent="0">
              <a:spcBef>
                <a:spcPts val="1800"/>
              </a:spcBef>
              <a:buNone/>
              <a:defRPr sz="2941">
                <a:gradFill>
                  <a:gsLst>
                    <a:gs pos="100000">
                      <a:schemeClr val="tx2"/>
                    </a:gs>
                    <a:gs pos="0">
                      <a:schemeClr val="tx2"/>
                    </a:gs>
                  </a:gsLst>
                  <a:lin ang="5400000" scaled="0"/>
                </a:gradFill>
                <a:latin typeface="+mj-lt"/>
              </a:defRPr>
            </a:lvl1pPr>
            <a:lvl2pPr marL="0" indent="0">
              <a:buNone/>
              <a:defRPr sz="1471" spc="-38" baseline="0">
                <a:gradFill>
                  <a:gsLst>
                    <a:gs pos="100000">
                      <a:schemeClr val="tx1"/>
                    </a:gs>
                    <a:gs pos="6000">
                      <a:schemeClr val="tx1"/>
                    </a:gs>
                  </a:gsLst>
                  <a:lin ang="5400000" scaled="0"/>
                </a:gradFill>
              </a:defRPr>
            </a:lvl2pPr>
            <a:lvl3pPr marL="173850" indent="0">
              <a:buNone/>
              <a:defRPr sz="1471" spc="-38" baseline="0">
                <a:gradFill>
                  <a:gsLst>
                    <a:gs pos="100000">
                      <a:schemeClr val="tx1"/>
                    </a:gs>
                    <a:gs pos="6000">
                      <a:schemeClr val="tx1"/>
                    </a:gs>
                  </a:gsLst>
                  <a:lin ang="5400000" scaled="0"/>
                </a:gradFill>
              </a:defRPr>
            </a:lvl3pPr>
            <a:lvl4pPr marL="342937" indent="0">
              <a:buNone/>
              <a:defRPr sz="1324" spc="-38" baseline="0">
                <a:gradFill>
                  <a:gsLst>
                    <a:gs pos="100000">
                      <a:schemeClr val="tx1"/>
                    </a:gs>
                    <a:gs pos="6000">
                      <a:schemeClr val="tx1"/>
                    </a:gs>
                  </a:gsLst>
                  <a:lin ang="5400000" scaled="0"/>
                </a:gradFill>
              </a:defRPr>
            </a:lvl4pPr>
            <a:lvl5pPr marL="520359" indent="0">
              <a:buNone/>
              <a:defRPr sz="1324" spc="-38"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2"/>
            <a:ext cx="11151917" cy="734625"/>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183100472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2"/>
            <a:ext cx="11151917" cy="1649041"/>
          </a:xfrm>
          <a:prstGeom prst="rect">
            <a:avLst/>
          </a:prstGeom>
        </p:spPr>
        <p:txBody>
          <a:bodyPr>
            <a:spAutoFit/>
          </a:bodyPr>
          <a:lstStyle>
            <a:lvl1pPr marL="0" indent="0">
              <a:spcBef>
                <a:spcPts val="1800"/>
              </a:spcBef>
              <a:buNone/>
              <a:defRPr sz="2941">
                <a:gradFill>
                  <a:gsLst>
                    <a:gs pos="100000">
                      <a:schemeClr val="tx1"/>
                    </a:gs>
                    <a:gs pos="0">
                      <a:schemeClr val="tx1"/>
                    </a:gs>
                  </a:gsLst>
                  <a:lin ang="5400000" scaled="0"/>
                </a:gradFill>
                <a:latin typeface="+mj-lt"/>
              </a:defRPr>
            </a:lvl1pPr>
            <a:lvl2pPr marL="0" indent="0">
              <a:buNone/>
              <a:defRPr sz="1471" spc="-38" baseline="0">
                <a:gradFill>
                  <a:gsLst>
                    <a:gs pos="100000">
                      <a:schemeClr val="tx1"/>
                    </a:gs>
                    <a:gs pos="0">
                      <a:schemeClr val="tx1"/>
                    </a:gs>
                  </a:gsLst>
                  <a:lin ang="5400000" scaled="0"/>
                </a:gradFill>
              </a:defRPr>
            </a:lvl2pPr>
            <a:lvl3pPr marL="173850" indent="0">
              <a:buNone/>
              <a:defRPr sz="1471" spc="-38" baseline="0">
                <a:gradFill>
                  <a:gsLst>
                    <a:gs pos="100000">
                      <a:schemeClr val="tx1"/>
                    </a:gs>
                    <a:gs pos="0">
                      <a:schemeClr val="tx1"/>
                    </a:gs>
                  </a:gsLst>
                  <a:lin ang="5400000" scaled="0"/>
                </a:gradFill>
              </a:defRPr>
            </a:lvl3pPr>
            <a:lvl4pPr marL="342937" indent="0">
              <a:buNone/>
              <a:defRPr sz="1324" spc="-38" baseline="0">
                <a:gradFill>
                  <a:gsLst>
                    <a:gs pos="100000">
                      <a:schemeClr val="tx1"/>
                    </a:gs>
                    <a:gs pos="0">
                      <a:schemeClr val="tx1"/>
                    </a:gs>
                  </a:gsLst>
                  <a:lin ang="5400000" scaled="0"/>
                </a:gradFill>
              </a:defRPr>
            </a:lvl4pPr>
            <a:lvl5pPr marL="520359" indent="0">
              <a:buNone/>
              <a:defRPr sz="1324" spc="-38"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810851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734625"/>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40" y="1187622"/>
            <a:ext cx="5369640" cy="1698798"/>
          </a:xfrm>
        </p:spPr>
        <p:txBody>
          <a:bodyPr wrap="square">
            <a:spAutoFit/>
          </a:bodyPr>
          <a:lstStyle>
            <a:lvl1pPr marL="219098" indent="-219098">
              <a:spcBef>
                <a:spcPts val="900"/>
              </a:spcBef>
              <a:buClr>
                <a:schemeClr val="tx1"/>
              </a:buClr>
              <a:buFont typeface="Wingdings" pitchFamily="2" charset="2"/>
              <a:buChar char=""/>
              <a:defRPr/>
            </a:lvl1pPr>
            <a:lvl2pPr marL="390566" indent="-171468">
              <a:defRPr sz="1765" spc="-38" baseline="0"/>
            </a:lvl2pPr>
            <a:lvl3pPr marL="514405" indent="-123838">
              <a:tabLst/>
              <a:defRPr sz="1471" spc="-38" baseline="0"/>
            </a:lvl3pPr>
            <a:lvl4pPr marL="647768" indent="-133364">
              <a:defRPr sz="1324" spc="-38" baseline="0"/>
            </a:lvl4pPr>
            <a:lvl5pPr marL="771607" indent="-123838">
              <a:tabLst/>
              <a:defRPr sz="1324"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1" y="1187622"/>
            <a:ext cx="5387457" cy="1698798"/>
          </a:xfrm>
        </p:spPr>
        <p:txBody>
          <a:bodyPr wrap="square">
            <a:spAutoFit/>
          </a:bodyPr>
          <a:lstStyle>
            <a:lvl1pPr marL="254820" indent="-254820">
              <a:spcBef>
                <a:spcPts val="900"/>
              </a:spcBef>
              <a:buFont typeface="Wingdings" pitchFamily="2" charset="2"/>
              <a:buChar char=""/>
              <a:defRPr lang="en-US" sz="2941" kern="1200" spc="-52" baseline="0" dirty="0" smtClean="0">
                <a:gradFill>
                  <a:gsLst>
                    <a:gs pos="1250">
                      <a:schemeClr val="tx1"/>
                    </a:gs>
                    <a:gs pos="100000">
                      <a:schemeClr val="tx1"/>
                    </a:gs>
                  </a:gsLst>
                  <a:lin ang="5400000" scaled="0"/>
                </a:gradFill>
                <a:latin typeface="+mj-lt"/>
                <a:ea typeface="+mn-ea"/>
                <a:cs typeface="+mn-cs"/>
              </a:defRPr>
            </a:lvl1pPr>
            <a:lvl2pPr marL="476301" indent="-257202">
              <a:defRPr lang="en-US" sz="1765" kern="1200" spc="-38" baseline="0" dirty="0" smtClean="0">
                <a:gradFill>
                  <a:gsLst>
                    <a:gs pos="1250">
                      <a:schemeClr val="tx1"/>
                    </a:gs>
                    <a:gs pos="100000">
                      <a:schemeClr val="tx1"/>
                    </a:gs>
                  </a:gsLst>
                  <a:lin ang="5400000" scaled="0"/>
                </a:gradFill>
                <a:latin typeface="+mn-lt"/>
                <a:ea typeface="+mn-ea"/>
                <a:cs typeface="+mn-cs"/>
              </a:defRPr>
            </a:lvl2pPr>
            <a:lvl3pPr marL="647768" indent="-257202">
              <a:defRPr lang="en-US" sz="1471" kern="1200" spc="-38" baseline="0" dirty="0" smtClean="0">
                <a:gradFill>
                  <a:gsLst>
                    <a:gs pos="1250">
                      <a:schemeClr val="tx1"/>
                    </a:gs>
                    <a:gs pos="100000">
                      <a:schemeClr val="tx1"/>
                    </a:gs>
                  </a:gsLst>
                  <a:lin ang="5400000" scaled="0"/>
                </a:gradFill>
                <a:latin typeface="+mn-lt"/>
                <a:ea typeface="+mn-ea"/>
                <a:cs typeface="+mn-cs"/>
              </a:defRPr>
            </a:lvl3pPr>
            <a:lvl4pPr marL="771607" indent="-257202">
              <a:defRPr lang="en-US" sz="1324" kern="1200" spc="-38" baseline="0" dirty="0" smtClean="0">
                <a:gradFill>
                  <a:gsLst>
                    <a:gs pos="1250">
                      <a:schemeClr val="tx1"/>
                    </a:gs>
                    <a:gs pos="100000">
                      <a:schemeClr val="tx1"/>
                    </a:gs>
                  </a:gsLst>
                  <a:lin ang="5400000" scaled="0"/>
                </a:gradFill>
                <a:latin typeface="+mn-lt"/>
                <a:ea typeface="+mn-ea"/>
                <a:cs typeface="+mn-cs"/>
              </a:defRPr>
            </a:lvl4pPr>
            <a:lvl5pPr marL="904971" indent="-257202">
              <a:defRPr lang="en-US" sz="1324" kern="1200" spc="-38" baseline="0" dirty="0">
                <a:gradFill>
                  <a:gsLst>
                    <a:gs pos="1250">
                      <a:schemeClr val="tx1"/>
                    </a:gs>
                    <a:gs pos="100000">
                      <a:schemeClr val="tx1"/>
                    </a:gs>
                  </a:gsLst>
                  <a:lin ang="5400000" scaled="0"/>
                </a:gradFill>
                <a:latin typeface="+mn-lt"/>
                <a:ea typeface="+mn-ea"/>
                <a:cs typeface="+mn-cs"/>
              </a:defRPr>
            </a:lvl5pPr>
          </a:lstStyle>
          <a:p>
            <a:pPr marL="219098" marR="0" lvl="0" indent="-219098" algn="l" defTabSz="68584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0566" marR="0" lvl="1" indent="-171468" algn="l" defTabSz="68584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14405" marR="0" lvl="2" indent="-123838" algn="l" defTabSz="68584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47768" marR="0" lvl="3" indent="-133364" algn="l" defTabSz="68584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71607" marR="0" lvl="4" indent="-123838" algn="l" defTabSz="68584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423958498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7346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1649041"/>
          </a:xfrm>
        </p:spPr>
        <p:txBody>
          <a:bodyPr>
            <a:spAutoFit/>
          </a:bodyPr>
          <a:lstStyle>
            <a:lvl1pPr marL="0" indent="0">
              <a:spcBef>
                <a:spcPts val="900"/>
              </a:spcBef>
              <a:buNone/>
              <a:defRPr sz="2941">
                <a:gradFill>
                  <a:gsLst>
                    <a:gs pos="100000">
                      <a:schemeClr val="tx2"/>
                    </a:gs>
                    <a:gs pos="0">
                      <a:schemeClr val="tx2"/>
                    </a:gs>
                  </a:gsLst>
                  <a:lin ang="5400000" scaled="0"/>
                </a:gradFill>
                <a:latin typeface="+mj-lt"/>
              </a:defRPr>
            </a:lvl1pPr>
            <a:lvl2pPr marL="0" indent="0">
              <a:buNone/>
              <a:defRPr sz="1471" spc="-38" baseline="0"/>
            </a:lvl2pPr>
            <a:lvl3pPr marL="175041" indent="0">
              <a:buNone/>
              <a:defRPr sz="1471" spc="-38" baseline="0"/>
            </a:lvl3pPr>
            <a:lvl4pPr marL="342937" indent="0">
              <a:buNone/>
              <a:defRPr sz="1324" spc="-38" baseline="0"/>
            </a:lvl4pPr>
            <a:lvl5pPr marL="520359" indent="0">
              <a:buNone/>
              <a:defRPr sz="1324"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5" cy="1649041"/>
          </a:xfrm>
        </p:spPr>
        <p:txBody>
          <a:bodyPr>
            <a:spAutoFit/>
          </a:bodyPr>
          <a:lstStyle>
            <a:lvl1pPr marL="0" indent="0">
              <a:spcBef>
                <a:spcPts val="900"/>
              </a:spcBef>
              <a:buNone/>
              <a:defRPr lang="en-US" sz="2941" kern="1200" spc="-52" baseline="0" dirty="0" smtClean="0">
                <a:gradFill>
                  <a:gsLst>
                    <a:gs pos="100000">
                      <a:schemeClr val="tx2"/>
                    </a:gs>
                    <a:gs pos="0">
                      <a:schemeClr val="tx2"/>
                    </a:gs>
                  </a:gsLst>
                  <a:lin ang="5400000" scaled="0"/>
                </a:gradFill>
                <a:latin typeface="+mj-lt"/>
                <a:ea typeface="+mn-ea"/>
                <a:cs typeface="+mn-cs"/>
              </a:defRPr>
            </a:lvl1pPr>
            <a:lvl2pPr marL="2382"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471" kern="1200" spc="-38" baseline="0" dirty="0" smtClean="0">
                <a:gradFill>
                  <a:gsLst>
                    <a:gs pos="1250">
                      <a:schemeClr val="tx1"/>
                    </a:gs>
                    <a:gs pos="100000">
                      <a:schemeClr val="tx1"/>
                    </a:gs>
                  </a:gsLst>
                  <a:lin ang="5400000" scaled="0"/>
                </a:gradFill>
                <a:latin typeface="+mn-lt"/>
                <a:ea typeface="+mn-ea"/>
                <a:cs typeface="+mn-cs"/>
              </a:defRPr>
            </a:lvl2pPr>
            <a:lvl3pPr marL="175041"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471" kern="1200" spc="-38" baseline="0" dirty="0" smtClean="0">
                <a:gradFill>
                  <a:gsLst>
                    <a:gs pos="1250">
                      <a:schemeClr val="tx1"/>
                    </a:gs>
                    <a:gs pos="100000">
                      <a:schemeClr val="tx1"/>
                    </a:gs>
                  </a:gsLst>
                  <a:lin ang="5400000" scaled="0"/>
                </a:gradFill>
                <a:latin typeface="+mn-lt"/>
                <a:ea typeface="+mn-ea"/>
                <a:cs typeface="+mn-cs"/>
              </a:defRPr>
            </a:lvl3pPr>
            <a:lvl4pPr marL="345318"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324" kern="1200" spc="-38" baseline="0" dirty="0" smtClean="0">
                <a:gradFill>
                  <a:gsLst>
                    <a:gs pos="1250">
                      <a:schemeClr val="tx1"/>
                    </a:gs>
                    <a:gs pos="100000">
                      <a:schemeClr val="tx1"/>
                    </a:gs>
                  </a:gsLst>
                  <a:lin ang="5400000" scaled="0"/>
                </a:gradFill>
                <a:latin typeface="+mn-lt"/>
                <a:ea typeface="+mn-ea"/>
                <a:cs typeface="+mn-cs"/>
              </a:defRPr>
            </a:lvl4pPr>
            <a:lvl5pPr marL="515595"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324" kern="1200" spc="-38" baseline="0" dirty="0">
                <a:gradFill>
                  <a:gsLst>
                    <a:gs pos="1250">
                      <a:schemeClr val="tx1"/>
                    </a:gs>
                    <a:gs pos="100000">
                      <a:schemeClr val="tx1"/>
                    </a:gs>
                  </a:gsLst>
                  <a:lin ang="5400000" scaled="0"/>
                </a:gradFill>
                <a:latin typeface="+mn-lt"/>
                <a:ea typeface="+mn-ea"/>
                <a:cs typeface="+mn-cs"/>
              </a:defRPr>
            </a:lvl5pPr>
          </a:lstStyle>
          <a:p>
            <a:pPr marL="0" marR="0" lvl="0" indent="0" algn="l" defTabSz="68584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232815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7346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1649041"/>
          </a:xfrm>
        </p:spPr>
        <p:txBody>
          <a:bodyPr>
            <a:spAutoFit/>
          </a:bodyPr>
          <a:lstStyle>
            <a:lvl1pPr marL="0" indent="0">
              <a:spcBef>
                <a:spcPts val="900"/>
              </a:spcBef>
              <a:buNone/>
              <a:defRPr sz="2941">
                <a:gradFill>
                  <a:gsLst>
                    <a:gs pos="1000">
                      <a:schemeClr val="tx1"/>
                    </a:gs>
                    <a:gs pos="98000">
                      <a:schemeClr val="tx1"/>
                    </a:gs>
                  </a:gsLst>
                  <a:lin ang="5400000" scaled="0"/>
                </a:gradFill>
                <a:latin typeface="+mj-lt"/>
              </a:defRPr>
            </a:lvl1pPr>
            <a:lvl2pPr marL="0" indent="0">
              <a:buNone/>
              <a:defRPr sz="1471" spc="-38" baseline="0">
                <a:gradFill>
                  <a:gsLst>
                    <a:gs pos="1000">
                      <a:schemeClr val="tx1"/>
                    </a:gs>
                    <a:gs pos="98000">
                      <a:schemeClr val="tx1"/>
                    </a:gs>
                  </a:gsLst>
                  <a:lin ang="5400000" scaled="0"/>
                </a:gradFill>
              </a:defRPr>
            </a:lvl2pPr>
            <a:lvl3pPr marL="175041" indent="0">
              <a:buNone/>
              <a:defRPr sz="1471" spc="-38" baseline="0">
                <a:gradFill>
                  <a:gsLst>
                    <a:gs pos="1000">
                      <a:schemeClr val="tx1"/>
                    </a:gs>
                    <a:gs pos="98000">
                      <a:schemeClr val="tx1"/>
                    </a:gs>
                  </a:gsLst>
                  <a:lin ang="5400000" scaled="0"/>
                </a:gradFill>
              </a:defRPr>
            </a:lvl3pPr>
            <a:lvl4pPr marL="342937" indent="0">
              <a:buNone/>
              <a:defRPr sz="1324" spc="-38" baseline="0">
                <a:gradFill>
                  <a:gsLst>
                    <a:gs pos="1000">
                      <a:schemeClr val="tx1"/>
                    </a:gs>
                    <a:gs pos="98000">
                      <a:schemeClr val="tx1"/>
                    </a:gs>
                  </a:gsLst>
                  <a:lin ang="5400000" scaled="0"/>
                </a:gradFill>
              </a:defRPr>
            </a:lvl4pPr>
            <a:lvl5pPr marL="520359" indent="0">
              <a:buNone/>
              <a:defRPr sz="1324" spc="-38"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5" cy="1649041"/>
          </a:xfrm>
        </p:spPr>
        <p:txBody>
          <a:bodyPr>
            <a:spAutoFit/>
          </a:bodyPr>
          <a:lstStyle>
            <a:lvl1pPr marL="0" indent="0">
              <a:spcBef>
                <a:spcPts val="900"/>
              </a:spcBef>
              <a:buNone/>
              <a:defRPr lang="en-US" sz="2941" kern="1200" spc="-52" baseline="0" dirty="0" smtClean="0">
                <a:gradFill>
                  <a:gsLst>
                    <a:gs pos="1000">
                      <a:schemeClr val="tx1"/>
                    </a:gs>
                    <a:gs pos="98000">
                      <a:schemeClr val="tx1"/>
                    </a:gs>
                  </a:gsLst>
                  <a:lin ang="5400000" scaled="0"/>
                </a:gradFill>
                <a:latin typeface="+mj-lt"/>
                <a:ea typeface="+mn-ea"/>
                <a:cs typeface="+mn-cs"/>
              </a:defRPr>
            </a:lvl1pPr>
            <a:lvl2pPr marL="2382"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471" kern="1200" spc="-38" baseline="0" dirty="0" smtClean="0">
                <a:gradFill>
                  <a:gsLst>
                    <a:gs pos="1000">
                      <a:schemeClr val="tx1"/>
                    </a:gs>
                    <a:gs pos="98000">
                      <a:schemeClr val="tx1"/>
                    </a:gs>
                  </a:gsLst>
                  <a:lin ang="5400000" scaled="0"/>
                </a:gradFill>
                <a:latin typeface="+mn-lt"/>
                <a:ea typeface="+mn-ea"/>
                <a:cs typeface="+mn-cs"/>
              </a:defRPr>
            </a:lvl2pPr>
            <a:lvl3pPr marL="175041"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471" kern="1200" spc="-38" baseline="0" dirty="0" smtClean="0">
                <a:gradFill>
                  <a:gsLst>
                    <a:gs pos="1000">
                      <a:schemeClr val="tx1"/>
                    </a:gs>
                    <a:gs pos="98000">
                      <a:schemeClr val="tx1"/>
                    </a:gs>
                  </a:gsLst>
                  <a:lin ang="5400000" scaled="0"/>
                </a:gradFill>
                <a:latin typeface="+mn-lt"/>
                <a:ea typeface="+mn-ea"/>
                <a:cs typeface="+mn-cs"/>
              </a:defRPr>
            </a:lvl3pPr>
            <a:lvl4pPr marL="345318"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324" kern="1200" spc="-38" baseline="0" dirty="0" smtClean="0">
                <a:gradFill>
                  <a:gsLst>
                    <a:gs pos="1000">
                      <a:schemeClr val="tx1"/>
                    </a:gs>
                    <a:gs pos="98000">
                      <a:schemeClr val="tx1"/>
                    </a:gs>
                  </a:gsLst>
                  <a:lin ang="5400000" scaled="0"/>
                </a:gradFill>
                <a:latin typeface="+mn-lt"/>
                <a:ea typeface="+mn-ea"/>
                <a:cs typeface="+mn-cs"/>
              </a:defRPr>
            </a:lvl4pPr>
            <a:lvl5pPr marL="515595" marR="0" indent="0" algn="l" defTabSz="685845" rtl="0" eaLnBrk="1" fontAlgn="auto" latinLnBrk="0" hangingPunct="1">
              <a:lnSpc>
                <a:spcPct val="90000"/>
              </a:lnSpc>
              <a:spcBef>
                <a:spcPct val="20000"/>
              </a:spcBef>
              <a:spcAft>
                <a:spcPts val="0"/>
              </a:spcAft>
              <a:buClrTx/>
              <a:buSzPct val="90000"/>
              <a:buFont typeface="Arial" pitchFamily="34" charset="0"/>
              <a:buNone/>
              <a:tabLst/>
              <a:defRPr lang="en-US" sz="1324" kern="1200" spc="-38" baseline="0" dirty="0">
                <a:gradFill>
                  <a:gsLst>
                    <a:gs pos="1000">
                      <a:schemeClr val="tx1"/>
                    </a:gs>
                    <a:gs pos="98000">
                      <a:schemeClr val="tx1"/>
                    </a:gs>
                  </a:gsLst>
                  <a:lin ang="5400000" scaled="0"/>
                </a:gradFill>
                <a:latin typeface="+mn-lt"/>
                <a:ea typeface="+mn-ea"/>
                <a:cs typeface="+mn-cs"/>
              </a:defRPr>
            </a:lvl5pPr>
          </a:lstStyle>
          <a:p>
            <a:pPr marL="0" marR="0" lvl="0" indent="0" algn="l" defTabSz="68584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278007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25625" y="649805"/>
            <a:ext cx="9390944" cy="1523494"/>
          </a:xfrm>
        </p:spPr>
        <p:txBody>
          <a:bodyPr anchor="ctr" anchorCtr="0">
            <a:noAutofit/>
          </a:bodyPr>
          <a:lstStyle>
            <a:lvl1pPr>
              <a:lnSpc>
                <a:spcPct val="90000"/>
              </a:lnSpc>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825273" y="4344995"/>
            <a:ext cx="9390944" cy="461665"/>
          </a:xfrm>
        </p:spPr>
        <p:txBody>
          <a:bodyPr>
            <a:noAutofit/>
          </a:bodyPr>
          <a:lstStyle>
            <a:lvl1pPr marL="0" indent="0" algn="l">
              <a:lnSpc>
                <a:spcPct val="90000"/>
              </a:lnSpc>
              <a:spcBef>
                <a:spcPts val="0"/>
              </a:spcBef>
              <a:buNone/>
              <a:defRPr lang="en-US" sz="3200" kern="1200" dirty="0">
                <a:gradFill>
                  <a:gsLst>
                    <a:gs pos="0">
                      <a:schemeClr val="tx1"/>
                    </a:gs>
                    <a:gs pos="100000">
                      <a:schemeClr val="tx1"/>
                    </a:gs>
                  </a:gsLst>
                  <a:lin ang="16200000" scaled="0"/>
                </a:gradFill>
                <a:latin typeface="Segoe UI" pitchFamily="34" charset="0"/>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2732" y="2355850"/>
            <a:ext cx="10253485"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Segoe UI" pitchFamily="34" charset="0"/>
                <a:ea typeface="+mn-ea"/>
                <a:cs typeface="+mn-cs"/>
              </a:defRPr>
            </a:lvl1pPr>
          </a:lstStyle>
          <a:p>
            <a:pPr lvl="0"/>
            <a:r>
              <a:rPr lang="en-US" dirty="0" smtClean="0"/>
              <a:t>click to…</a:t>
            </a:r>
          </a:p>
        </p:txBody>
      </p:sp>
    </p:spTree>
  </p:cSld>
  <p:clrMapOvr>
    <a:masterClrMapping/>
  </p:clrMapOvr>
  <p:transition>
    <p:strips dir="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845" rtl="0" eaLnBrk="1" latinLnBrk="0" hangingPunct="1">
              <a:lnSpc>
                <a:spcPct val="90000"/>
              </a:lnSpc>
              <a:spcBef>
                <a:spcPct val="0"/>
              </a:spcBef>
              <a:buNone/>
              <a:defRPr lang="en-US" sz="3971"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30258463"/>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12553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07571" tIns="67232" rIns="107571" bIns="6723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3971">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12104909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1926040"/>
          </a:xfrm>
        </p:spPr>
        <p:txBody>
          <a:bodyPr>
            <a:spAutoFit/>
          </a:bodyPr>
          <a:lstStyle>
            <a:lvl1pPr marL="0" indent="0">
              <a:buNone/>
              <a:defRPr sz="2426">
                <a:gradFill>
                  <a:gsLst>
                    <a:gs pos="1250">
                      <a:schemeClr val="tx1"/>
                    </a:gs>
                    <a:gs pos="100000">
                      <a:schemeClr val="tx1"/>
                    </a:gs>
                  </a:gsLst>
                  <a:lin ang="5400000" scaled="0"/>
                </a:gradFill>
                <a:latin typeface="Consolas" pitchFamily="49" charset="0"/>
                <a:cs typeface="Consolas" pitchFamily="49" charset="0"/>
              </a:defRPr>
            </a:lvl1pPr>
            <a:lvl2pPr marL="254820" indent="0">
              <a:buNone/>
              <a:defRPr>
                <a:gradFill>
                  <a:gsLst>
                    <a:gs pos="1250">
                      <a:schemeClr val="tx1"/>
                    </a:gs>
                    <a:gs pos="100000">
                      <a:schemeClr val="tx1"/>
                    </a:gs>
                  </a:gsLst>
                  <a:lin ang="5400000" scaled="0"/>
                </a:gradFill>
                <a:latin typeface="Consolas" pitchFamily="49" charset="0"/>
                <a:cs typeface="Consolas" pitchFamily="49" charset="0"/>
              </a:defRPr>
            </a:lvl2pPr>
            <a:lvl3pPr marL="429862" indent="0">
              <a:buNone/>
              <a:defRPr>
                <a:gradFill>
                  <a:gsLst>
                    <a:gs pos="1250">
                      <a:schemeClr val="tx1"/>
                    </a:gs>
                    <a:gs pos="100000">
                      <a:schemeClr val="tx1"/>
                    </a:gs>
                  </a:gsLst>
                  <a:lin ang="5400000" scaled="0"/>
                </a:gradFill>
                <a:latin typeface="Consolas" pitchFamily="49" charset="0"/>
                <a:cs typeface="Consolas" pitchFamily="49" charset="0"/>
              </a:defRPr>
            </a:lvl3pPr>
            <a:lvl4pPr marL="598948" indent="0">
              <a:buNone/>
              <a:defRPr>
                <a:gradFill>
                  <a:gsLst>
                    <a:gs pos="1250">
                      <a:schemeClr val="tx1"/>
                    </a:gs>
                    <a:gs pos="100000">
                      <a:schemeClr val="tx1"/>
                    </a:gs>
                  </a:gsLst>
                  <a:lin ang="5400000" scaled="0"/>
                </a:gradFill>
                <a:latin typeface="Consolas" pitchFamily="49" charset="0"/>
                <a:cs typeface="Consolas" pitchFamily="49" charset="0"/>
              </a:defRPr>
            </a:lvl4pPr>
            <a:lvl5pPr marL="772798"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926381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70"/>
            <a:ext cx="11155093" cy="734625"/>
          </a:xfrm>
        </p:spPr>
        <p:txBody>
          <a:bodyPr>
            <a:spAutoFit/>
          </a:bodyPr>
          <a:lstStyle>
            <a:lvl1pPr>
              <a:defRPr sz="3971"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1956626"/>
          </a:xfrm>
          <a:prstGeom prst="rect">
            <a:avLst/>
          </a:prstGeom>
        </p:spPr>
        <p:txBody>
          <a:bodyPr>
            <a:spAutoFit/>
          </a:bodyPr>
          <a:lstStyle>
            <a:lvl1pPr marL="257202" indent="-257202">
              <a:buClr>
                <a:srgbClr val="FFFFFF"/>
              </a:buClr>
              <a:buSzPct val="90000"/>
              <a:buFont typeface="Arial" pitchFamily="34" charset="0"/>
              <a:buChar char="•"/>
              <a:defRPr sz="2647">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38" indent="-214336">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72" indent="-214336">
              <a:buClr>
                <a:srgbClr val="FFFFFF"/>
              </a:buClr>
              <a:buSzPct val="90000"/>
              <a:buFont typeface="Arial" pitchFamily="34" charset="0"/>
              <a:buChar char="•"/>
              <a:defRPr sz="2059">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341" indent="-171468">
              <a:buClr>
                <a:srgbClr val="FFFFFF"/>
              </a:buClr>
              <a:buSzPct val="90000"/>
              <a:buFont typeface="Arial" pitchFamily="34" charset="0"/>
              <a:buChar char="•"/>
              <a:defRPr sz="1765">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809" indent="-171468">
              <a:buClr>
                <a:srgbClr val="FFFFFF"/>
              </a:buClr>
              <a:buSzPct val="90000"/>
              <a:buFont typeface="Arial" pitchFamily="34" charset="0"/>
              <a:buChar char="•"/>
              <a:defRPr sz="147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22814978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8299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99326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6039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54671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8777161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pos="17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08000" y="1411552"/>
            <a:ext cx="11176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strips dir="rd"/>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79781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5453111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402774309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967574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127590999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863905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9985683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4840859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31423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408938569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08000" y="1412875"/>
            <a:ext cx="11176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trips dir="rd"/>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200770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67457320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42861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934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23373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041212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36726162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pos="17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750610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39860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83445765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08000" y="1411556"/>
            <a:ext cx="548640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97601" y="1411556"/>
            <a:ext cx="5486400"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trips dir="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571495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130488708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2535657"/>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848061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5495216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6515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50036307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24643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68966966"/>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674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08000" y="1757808"/>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999" y="2174878"/>
            <a:ext cx="54864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94642" y="1757808"/>
            <a:ext cx="548935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8"/>
            <a:ext cx="5490632"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trips dir="rd"/>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5253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7515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5"/>
            <a:ext cx="11155093" cy="1172373"/>
          </a:xfrm>
        </p:spPr>
        <p:txBody>
          <a:bodyPr anchor="b" anchorCtr="0">
            <a:spAutoFit/>
          </a:bodyPr>
          <a:lstStyle>
            <a:lvl1pPr>
              <a:defRPr sz="7058"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7"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602463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3"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EFEFEF"/>
              </a:solidFill>
            </a:endParaRPr>
          </a:p>
        </p:txBody>
      </p:sp>
      <p:sp>
        <p:nvSpPr>
          <p:cNvPr id="2" name="Title 1"/>
          <p:cNvSpPr>
            <a:spLocks noGrp="1"/>
          </p:cNvSpPr>
          <p:nvPr>
            <p:ph type="title" hasCustomPrompt="1"/>
          </p:nvPr>
        </p:nvSpPr>
        <p:spPr>
          <a:xfrm>
            <a:off x="5647788" y="1187621"/>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647788" y="3877277"/>
            <a:ext cx="6274974" cy="724246"/>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02838" y="1570215"/>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3566582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xmlns="">
        <p15:guide id="1" pos="17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0"/>
            <a:ext cx="11155093" cy="1172373"/>
          </a:xfrm>
        </p:spPr>
        <p:txBody>
          <a:bodyPr anchor="b" anchorCtr="0">
            <a:spAutoFit/>
          </a:bodyPr>
          <a:lstStyle>
            <a:lvl1pPr>
              <a:defRPr sz="7058" spc="-150"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7" spc="-70"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454487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2"/>
            <a:ext cx="11151917" cy="914360"/>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69239" y="1187621"/>
            <a:ext cx="11151917" cy="2193862"/>
          </a:xfrm>
          <a:prstGeom prst="rect">
            <a:avLst/>
          </a:prstGeom>
        </p:spPr>
        <p:txBody>
          <a:bodyPr>
            <a:spAutoFit/>
          </a:bodyPr>
          <a:lstStyle>
            <a:lvl1pPr marL="284164" indent="-284164">
              <a:buFont typeface="Wingdings" pitchFamily="2" charset="2"/>
              <a:buChar char=""/>
              <a:defRPr sz="3921"/>
            </a:lvl1pPr>
            <a:lvl2pPr marL="517527" indent="-233364">
              <a:buFont typeface="Wingdings" pitchFamily="2" charset="2"/>
              <a:buChar char=""/>
              <a:defRPr sz="2353" spc="-50" baseline="0">
                <a:latin typeface="+mn-lt"/>
              </a:defRPr>
            </a:lvl2pPr>
            <a:lvl3pPr marL="741366" indent="-223839">
              <a:buFont typeface="Wingdings" pitchFamily="2" charset="2"/>
              <a:buChar char=""/>
              <a:tabLst/>
              <a:defRPr sz="1961" spc="-50" baseline="0">
                <a:latin typeface="+mn-lt"/>
              </a:defRPr>
            </a:lvl3pPr>
            <a:lvl4pPr marL="914403" indent="-173039">
              <a:buFont typeface="Wingdings" pitchFamily="2" charset="2"/>
              <a:buChar char=""/>
              <a:defRPr sz="1765" spc="-50" baseline="0">
                <a:latin typeface="+mn-lt"/>
              </a:defRPr>
            </a:lvl4pPr>
            <a:lvl5pPr marL="1087443" indent="-173039">
              <a:buFont typeface="Wingdings" pitchFamily="2" charset="2"/>
              <a:buChar char=""/>
              <a:tabLst/>
              <a:defRPr sz="1765"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0641905"/>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2"/>
                    </a:gs>
                    <a:gs pos="0">
                      <a:schemeClr val="tx2"/>
                    </a:gs>
                  </a:gsLst>
                  <a:lin ang="5400000" scaled="0"/>
                </a:gradFill>
                <a:latin typeface="+mj-lt"/>
              </a:defRPr>
            </a:lvl1pPr>
            <a:lvl2pPr marL="0" indent="0">
              <a:buNone/>
              <a:defRPr sz="1961" spc="-50" baseline="0">
                <a:gradFill>
                  <a:gsLst>
                    <a:gs pos="100000">
                      <a:schemeClr val="tx1"/>
                    </a:gs>
                    <a:gs pos="6000">
                      <a:schemeClr val="tx1"/>
                    </a:gs>
                  </a:gsLst>
                  <a:lin ang="5400000" scaled="0"/>
                </a:gradFill>
              </a:defRPr>
            </a:lvl2pPr>
            <a:lvl3pPr marL="231776" indent="0">
              <a:buNone/>
              <a:defRPr sz="1961" spc="-50" baseline="0">
                <a:gradFill>
                  <a:gsLst>
                    <a:gs pos="100000">
                      <a:schemeClr val="tx1"/>
                    </a:gs>
                    <a:gs pos="6000">
                      <a:schemeClr val="tx1"/>
                    </a:gs>
                  </a:gsLst>
                  <a:lin ang="5400000" scaled="0"/>
                </a:gradFill>
              </a:defRPr>
            </a:lvl3pPr>
            <a:lvl4pPr marL="457202" indent="0">
              <a:buNone/>
              <a:defRPr sz="1765" spc="-50" baseline="0">
                <a:gradFill>
                  <a:gsLst>
                    <a:gs pos="100000">
                      <a:schemeClr val="tx1"/>
                    </a:gs>
                    <a:gs pos="6000">
                      <a:schemeClr val="tx1"/>
                    </a:gs>
                  </a:gsLst>
                  <a:lin ang="5400000" scaled="0"/>
                </a:gradFill>
              </a:defRPr>
            </a:lvl4pPr>
            <a:lvl5pPr marL="693741" indent="0">
              <a:buNone/>
              <a:defRPr sz="1765"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69239" y="286381"/>
            <a:ext cx="11151917" cy="927940"/>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17918887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39" y="1187621"/>
            <a:ext cx="11151917" cy="2094277"/>
          </a:xfrm>
          <a:prstGeom prst="rect">
            <a:avLst/>
          </a:prstGeom>
        </p:spPr>
        <p:txBody>
          <a:bodyPr>
            <a:spAutoFit/>
          </a:bodyPr>
          <a:lstStyle>
            <a:lvl1pPr marL="0" indent="0">
              <a:spcBef>
                <a:spcPts val="2400"/>
              </a:spcBef>
              <a:buNone/>
              <a:defRPr sz="3921">
                <a:gradFill>
                  <a:gsLst>
                    <a:gs pos="100000">
                      <a:schemeClr val="tx1"/>
                    </a:gs>
                    <a:gs pos="0">
                      <a:schemeClr val="tx1"/>
                    </a:gs>
                  </a:gsLst>
                  <a:lin ang="5400000" scaled="0"/>
                </a:gradFill>
                <a:latin typeface="+mj-lt"/>
              </a:defRPr>
            </a:lvl1pPr>
            <a:lvl2pPr marL="0" indent="0">
              <a:buNone/>
              <a:defRPr sz="1961" spc="-50" baseline="0">
                <a:gradFill>
                  <a:gsLst>
                    <a:gs pos="100000">
                      <a:schemeClr val="tx1"/>
                    </a:gs>
                    <a:gs pos="0">
                      <a:schemeClr val="tx1"/>
                    </a:gs>
                  </a:gsLst>
                  <a:lin ang="5400000" scaled="0"/>
                </a:gradFill>
              </a:defRPr>
            </a:lvl2pPr>
            <a:lvl3pPr marL="231776" indent="0">
              <a:buNone/>
              <a:defRPr sz="1961" spc="-50" baseline="0">
                <a:gradFill>
                  <a:gsLst>
                    <a:gs pos="100000">
                      <a:schemeClr val="tx1"/>
                    </a:gs>
                    <a:gs pos="0">
                      <a:schemeClr val="tx1"/>
                    </a:gs>
                  </a:gsLst>
                  <a:lin ang="5400000" scaled="0"/>
                </a:gradFill>
              </a:defRPr>
            </a:lvl3pPr>
            <a:lvl4pPr marL="457202" indent="0">
              <a:buNone/>
              <a:defRPr sz="1765" spc="-50" baseline="0">
                <a:gradFill>
                  <a:gsLst>
                    <a:gs pos="100000">
                      <a:schemeClr val="tx1"/>
                    </a:gs>
                    <a:gs pos="0">
                      <a:schemeClr val="tx1"/>
                    </a:gs>
                  </a:gsLst>
                  <a:lin ang="5400000" scaled="0"/>
                </a:gradFill>
              </a:defRPr>
            </a:lvl4pPr>
            <a:lvl5pPr marL="693741" indent="0">
              <a:buNone/>
              <a:defRPr sz="1765"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957412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69239" y="1187621"/>
            <a:ext cx="5369641" cy="2703851"/>
          </a:xfrm>
        </p:spPr>
        <p:txBody>
          <a:bodyPr wrap="square">
            <a:spAutoFit/>
          </a:bodyPr>
          <a:lstStyle>
            <a:lvl1pPr marL="292101" indent="-292101">
              <a:spcBef>
                <a:spcPts val="1200"/>
              </a:spcBef>
              <a:buClr>
                <a:schemeClr val="tx1"/>
              </a:buClr>
              <a:buFont typeface="Wingdings" pitchFamily="2" charset="2"/>
              <a:buChar char=""/>
              <a:defRPr/>
            </a:lvl1pPr>
            <a:lvl2pPr marL="520702" indent="-228601">
              <a:defRPr sz="2353" spc="-50" baseline="0"/>
            </a:lvl2pPr>
            <a:lvl3pPr marL="685803" indent="-165101">
              <a:tabLst/>
              <a:defRPr sz="1961" spc="-50" baseline="0"/>
            </a:lvl3pPr>
            <a:lvl4pPr marL="863603" indent="-177801">
              <a:defRPr sz="1765" spc="-50" baseline="0"/>
            </a:lvl4pPr>
            <a:lvl5pPr marL="1028704" indent="-165101">
              <a:tabLst/>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638880" y="1187621"/>
            <a:ext cx="5387457" cy="2703851"/>
          </a:xfrm>
        </p:spPr>
        <p:txBody>
          <a:bodyPr wrap="square">
            <a:spAutoFit/>
          </a:bodyPr>
          <a:lstStyle>
            <a:lvl1pPr marL="339726" indent="-339726">
              <a:spcBef>
                <a:spcPts val="1200"/>
              </a:spcBef>
              <a:buFont typeface="Wingdings" pitchFamily="2" charset="2"/>
              <a:buChar char=""/>
              <a:defRPr lang="en-US" sz="3921" kern="1200" spc="-70" baseline="0" dirty="0" smtClean="0">
                <a:gradFill>
                  <a:gsLst>
                    <a:gs pos="1250">
                      <a:schemeClr val="tx1"/>
                    </a:gs>
                    <a:gs pos="100000">
                      <a:schemeClr val="tx1"/>
                    </a:gs>
                  </a:gsLst>
                  <a:lin ang="5400000" scaled="0"/>
                </a:gradFill>
                <a:latin typeface="+mj-lt"/>
                <a:ea typeface="+mn-ea"/>
                <a:cs typeface="+mn-cs"/>
              </a:defRPr>
            </a:lvl1pPr>
            <a:lvl2pPr marL="635003" indent="-342901">
              <a:defRPr lang="en-US" sz="2353" kern="1200" spc="-50" baseline="0" dirty="0" smtClean="0">
                <a:gradFill>
                  <a:gsLst>
                    <a:gs pos="1250">
                      <a:schemeClr val="tx1"/>
                    </a:gs>
                    <a:gs pos="100000">
                      <a:schemeClr val="tx1"/>
                    </a:gs>
                  </a:gsLst>
                  <a:lin ang="5400000" scaled="0"/>
                </a:gradFill>
                <a:latin typeface="+mn-lt"/>
                <a:ea typeface="+mn-ea"/>
                <a:cs typeface="+mn-cs"/>
              </a:defRPr>
            </a:lvl2pPr>
            <a:lvl3pPr marL="863603" indent="-342901">
              <a:defRPr lang="en-US" sz="1961" kern="1200" spc="-50" baseline="0" dirty="0" smtClean="0">
                <a:gradFill>
                  <a:gsLst>
                    <a:gs pos="1250">
                      <a:schemeClr val="tx1"/>
                    </a:gs>
                    <a:gs pos="100000">
                      <a:schemeClr val="tx1"/>
                    </a:gs>
                  </a:gsLst>
                  <a:lin ang="5400000" scaled="0"/>
                </a:gradFill>
                <a:latin typeface="+mn-lt"/>
                <a:ea typeface="+mn-ea"/>
                <a:cs typeface="+mn-cs"/>
              </a:defRPr>
            </a:lvl3pPr>
            <a:lvl4pPr marL="1028704" indent="-342901">
              <a:defRPr lang="en-US" sz="1765" kern="1200" spc="-50" baseline="0" dirty="0" smtClean="0">
                <a:gradFill>
                  <a:gsLst>
                    <a:gs pos="1250">
                      <a:schemeClr val="tx1"/>
                    </a:gs>
                    <a:gs pos="100000">
                      <a:schemeClr val="tx1"/>
                    </a:gs>
                  </a:gsLst>
                  <a:lin ang="5400000" scaled="0"/>
                </a:gradFill>
                <a:latin typeface="+mn-lt"/>
                <a:ea typeface="+mn-ea"/>
                <a:cs typeface="+mn-cs"/>
              </a:defRPr>
            </a:lvl4pPr>
            <a:lvl5pPr marL="1206505" indent="-342901">
              <a:defRPr lang="en-US" sz="1765" kern="1200" spc="-50" baseline="0" dirty="0">
                <a:gradFill>
                  <a:gsLst>
                    <a:gs pos="1250">
                      <a:schemeClr val="tx1"/>
                    </a:gs>
                    <a:gs pos="100000">
                      <a:schemeClr val="tx1"/>
                    </a:gs>
                  </a:gsLst>
                  <a:lin ang="5400000" scaled="0"/>
                </a:gradFill>
                <a:latin typeface="+mn-lt"/>
                <a:ea typeface="+mn-ea"/>
                <a:cs typeface="+mn-cs"/>
              </a:defRPr>
            </a:lvl5pPr>
          </a:lstStyle>
          <a:p>
            <a:pPr marL="292101" marR="0" lvl="0" indent="-292101" algn="l" defTabSz="91436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20702" marR="0" lvl="1" indent="-2286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85803" marR="0" lvl="2"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63603" marR="0" lvl="3" indent="-1778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28704" marR="0" lvl="4" indent="-165101" algn="l" defTabSz="914367"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286759225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97815"/>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364" indent="0">
              <a:buNone/>
              <a:defRPr sz="1961" spc="-50" baseline="0"/>
            </a:lvl3pPr>
            <a:lvl4pPr marL="457202" indent="0">
              <a:buNone/>
              <a:defRPr sz="1765" spc="-50" baseline="0"/>
            </a:lvl4pPr>
            <a:lvl5pPr marL="693741" indent="0">
              <a:buNone/>
              <a:defRPr sz="1765"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42775"/>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39974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trips dir="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86381"/>
            <a:ext cx="11151917" cy="927940"/>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1">
                <a:gradFill>
                  <a:gsLst>
                    <a:gs pos="1000">
                      <a:schemeClr val="tx1"/>
                    </a:gs>
                    <a:gs pos="98000">
                      <a:schemeClr val="tx1"/>
                    </a:gs>
                  </a:gsLst>
                  <a:lin ang="5400000" scaled="0"/>
                </a:gradFill>
                <a:latin typeface="+mj-lt"/>
              </a:defRPr>
            </a:lvl1pPr>
            <a:lvl2pPr marL="0" indent="0">
              <a:buNone/>
              <a:defRPr sz="1961" spc="-50" baseline="0">
                <a:gradFill>
                  <a:gsLst>
                    <a:gs pos="1000">
                      <a:schemeClr val="tx1"/>
                    </a:gs>
                    <a:gs pos="98000">
                      <a:schemeClr val="tx1"/>
                    </a:gs>
                  </a:gsLst>
                  <a:lin ang="5400000" scaled="0"/>
                </a:gradFill>
              </a:defRPr>
            </a:lvl2pPr>
            <a:lvl3pPr marL="233364" indent="0">
              <a:buNone/>
              <a:defRPr sz="1961" spc="-50" baseline="0">
                <a:gradFill>
                  <a:gsLst>
                    <a:gs pos="1000">
                      <a:schemeClr val="tx1"/>
                    </a:gs>
                    <a:gs pos="98000">
                      <a:schemeClr val="tx1"/>
                    </a:gs>
                  </a:gsLst>
                  <a:lin ang="5400000" scaled="0"/>
                </a:gradFill>
              </a:defRPr>
            </a:lvl3pPr>
            <a:lvl4pPr marL="457202" indent="0">
              <a:buNone/>
              <a:defRPr sz="1765" spc="-50" baseline="0">
                <a:gradFill>
                  <a:gsLst>
                    <a:gs pos="1000">
                      <a:schemeClr val="tx1"/>
                    </a:gs>
                    <a:gs pos="98000">
                      <a:schemeClr val="tx1"/>
                    </a:gs>
                  </a:gsLst>
                  <a:lin ang="5400000" scaled="0"/>
                </a:gradFill>
              </a:defRPr>
            </a:lvl4pPr>
            <a:lvl5pPr marL="693741" indent="0">
              <a:buNone/>
              <a:defRPr sz="1765"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647788" y="1187621"/>
            <a:ext cx="5396366" cy="2637462"/>
          </a:xfrm>
        </p:spPr>
        <p:txBody>
          <a:bodyPr>
            <a:spAutoFit/>
          </a:bodyPr>
          <a:lstStyle>
            <a:lvl1pPr marL="0" indent="0">
              <a:spcBef>
                <a:spcPts val="1200"/>
              </a:spcBef>
              <a:buNone/>
              <a:defRPr lang="en-US" sz="3921"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2pPr>
            <a:lvl3pPr marL="233364"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000">
                      <a:schemeClr val="tx1"/>
                    </a:gs>
                    <a:gs pos="98000">
                      <a:schemeClr val="tx1"/>
                    </a:gs>
                  </a:gsLst>
                  <a:lin ang="5400000" scaled="0"/>
                </a:gradFill>
                <a:latin typeface="+mn-lt"/>
                <a:ea typeface="+mn-ea"/>
                <a:cs typeface="+mn-cs"/>
              </a:defRPr>
            </a:lvl3pPr>
            <a:lvl4pPr marL="460377"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000">
                      <a:schemeClr val="tx1"/>
                    </a:gs>
                    <a:gs pos="98000">
                      <a:schemeClr val="tx1"/>
                    </a:gs>
                  </a:gsLst>
                  <a:lin ang="5400000" scaled="0"/>
                </a:gradFill>
                <a:latin typeface="+mn-lt"/>
                <a:ea typeface="+mn-ea"/>
                <a:cs typeface="+mn-cs"/>
              </a:defRPr>
            </a:lvl4pPr>
            <a:lvl5pPr marL="687390" marR="0" indent="0" algn="l" defTabSz="914367"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1934030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14367" rtl="0" eaLnBrk="1" latinLnBrk="0" hangingPunct="1">
              <a:lnSpc>
                <a:spcPct val="90000"/>
              </a:lnSpc>
              <a:spcBef>
                <a:spcPct val="0"/>
              </a:spcBef>
              <a:buNone/>
              <a:defRPr lang="en-US" sz="529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122528"/>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040257"/>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69239" y="308191"/>
            <a:ext cx="11151917" cy="927940"/>
          </a:xfrm>
          <a:prstGeom prst="rect">
            <a:avLst/>
          </a:prstGeom>
        </p:spPr>
        <p:txBody>
          <a:bodyPr lIns="143428" tIns="89642" rIns="143428" bIns="89642"/>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128561649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69239" y="1187621"/>
            <a:ext cx="11155093" cy="2463945"/>
          </a:xfrm>
        </p:spPr>
        <p:txBody>
          <a:bodyPr>
            <a:spAutoFit/>
          </a:bodyPr>
          <a:lstStyle>
            <a:lvl1pPr marL="0" indent="0">
              <a:buNone/>
              <a:defRPr sz="3235">
                <a:gradFill>
                  <a:gsLst>
                    <a:gs pos="1250">
                      <a:schemeClr val="tx1"/>
                    </a:gs>
                    <a:gs pos="100000">
                      <a:schemeClr val="tx1"/>
                    </a:gs>
                  </a:gsLst>
                  <a:lin ang="5400000" scaled="0"/>
                </a:gradFill>
                <a:latin typeface="Consolas" pitchFamily="49" charset="0"/>
                <a:cs typeface="Consolas" pitchFamily="49" charset="0"/>
              </a:defRPr>
            </a:lvl1pPr>
            <a:lvl2pPr marL="339726" indent="0">
              <a:buNone/>
              <a:defRPr>
                <a:gradFill>
                  <a:gsLst>
                    <a:gs pos="1250">
                      <a:schemeClr val="tx1"/>
                    </a:gs>
                    <a:gs pos="100000">
                      <a:schemeClr val="tx1"/>
                    </a:gs>
                  </a:gsLst>
                  <a:lin ang="5400000" scaled="0"/>
                </a:gradFill>
                <a:latin typeface="Consolas" pitchFamily="49" charset="0"/>
                <a:cs typeface="Consolas" pitchFamily="49" charset="0"/>
              </a:defRPr>
            </a:lvl2pPr>
            <a:lvl3pPr marL="573090" indent="0">
              <a:buNone/>
              <a:defRPr>
                <a:gradFill>
                  <a:gsLst>
                    <a:gs pos="1250">
                      <a:schemeClr val="tx1"/>
                    </a:gs>
                    <a:gs pos="100000">
                      <a:schemeClr val="tx1"/>
                    </a:gs>
                  </a:gsLst>
                  <a:lin ang="5400000" scaled="0"/>
                </a:gradFill>
                <a:latin typeface="Consolas" pitchFamily="49" charset="0"/>
                <a:cs typeface="Consolas" pitchFamily="49" charset="0"/>
              </a:defRPr>
            </a:lvl3pPr>
            <a:lvl4pPr marL="798516" indent="0">
              <a:buNone/>
              <a:defRPr>
                <a:gradFill>
                  <a:gsLst>
                    <a:gs pos="1250">
                      <a:schemeClr val="tx1"/>
                    </a:gs>
                    <a:gs pos="100000">
                      <a:schemeClr val="tx1"/>
                    </a:gs>
                  </a:gsLst>
                  <a:lin ang="5400000" scaled="0"/>
                </a:gradFill>
                <a:latin typeface="Consolas" pitchFamily="49" charset="0"/>
                <a:cs typeface="Consolas" pitchFamily="49" charset="0"/>
              </a:defRPr>
            </a:lvl4pPr>
            <a:lvl5pPr marL="103029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651766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4"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69239" y="1187621"/>
            <a:ext cx="11151917" cy="2504683"/>
          </a:xfrm>
          <a:prstGeom prst="rect">
            <a:avLst/>
          </a:prstGeom>
        </p:spPr>
        <p:txBody>
          <a:bodyPr>
            <a:spAutoFit/>
          </a:bodyPr>
          <a:lstStyle>
            <a:lvl1pPr marL="342901" indent="-342901">
              <a:buClr>
                <a:srgbClr val="FFFFFF"/>
              </a:buClr>
              <a:buSzPct val="90000"/>
              <a:buFont typeface="Arial" pitchFamily="34" charset="0"/>
              <a:buChar char="•"/>
              <a:defRPr sz="352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3" indent="-285752">
              <a:buClr>
                <a:srgbClr val="FFFFFF"/>
              </a:buClr>
              <a:buSzPct val="90000"/>
              <a:buFont typeface="Arial" pitchFamily="34" charset="0"/>
              <a:buChar char="•"/>
              <a:defRPr sz="3137">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3" indent="-285752">
              <a:buClr>
                <a:srgbClr val="FFFFFF"/>
              </a:buClr>
              <a:buSzPct val="90000"/>
              <a:buFont typeface="Arial" pitchFamily="34" charset="0"/>
              <a:buChar char="•"/>
              <a:defRPr sz="2745">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4" indent="-228601">
              <a:buClr>
                <a:srgbClr val="FFFFFF"/>
              </a:buClr>
              <a:buSzPct val="90000"/>
              <a:buFont typeface="Arial" pitchFamily="34" charset="0"/>
              <a:buChar char="•"/>
              <a:defRPr sz="2353">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5" indent="-228601">
              <a:buClr>
                <a:srgbClr val="FFFFFF"/>
              </a:buClr>
              <a:buSzPct val="90000"/>
              <a:buFont typeface="Arial" pitchFamily="34" charset="0"/>
              <a:buChar char="•"/>
              <a:defRPr sz="1961">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73544142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9012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3174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16046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10" name="Date Placeholder 3"/>
          <p:cNvSpPr>
            <a:spLocks noGrp="1"/>
          </p:cNvSpPr>
          <p:nvPr>
            <p:ph type="dt" sz="half" idx="2"/>
          </p:nvPr>
        </p:nvSpPr>
        <p:spPr>
          <a:xfrm>
            <a:off x="941773" y="6286903"/>
            <a:ext cx="1293428" cy="365125"/>
          </a:xfrm>
          <a:prstGeom prst="rect">
            <a:avLst/>
          </a:prstGeom>
        </p:spPr>
        <p:txBody>
          <a:bodyPr vert="horz" lIns="91440" tIns="45720" rIns="91440" bIns="45720" rtlCol="0" anchor="ctr"/>
          <a:lstStyle>
            <a:lvl1pPr algn="l">
              <a:defRPr sz="1100">
                <a:solidFill>
                  <a:srgbClr val="FFFFFF"/>
                </a:solidFill>
              </a:defRPr>
            </a:lvl1pPr>
          </a:lstStyle>
          <a:p>
            <a:pPr defTabSz="914133"/>
            <a:fld id="{635F96FD-738F-3543-AAAE-19F4D0B3A3FF}" type="datetime1">
              <a:rPr lang="en-US" smtClean="0"/>
              <a:pPr defTabSz="914133"/>
              <a:t>6/9/2014</a:t>
            </a:fld>
            <a:r>
              <a:rPr lang="en-US" smtClean="0"/>
              <a:t>  |</a:t>
            </a:r>
            <a:endParaRPr lang="en-US" dirty="0"/>
          </a:p>
        </p:txBody>
      </p:sp>
      <p:sp>
        <p:nvSpPr>
          <p:cNvPr id="11" name="Footer Placeholder 4"/>
          <p:cNvSpPr>
            <a:spLocks noGrp="1"/>
          </p:cNvSpPr>
          <p:nvPr>
            <p:ph type="ftr" sz="quarter" idx="3"/>
          </p:nvPr>
        </p:nvSpPr>
        <p:spPr>
          <a:xfrm>
            <a:off x="2086187" y="6286903"/>
            <a:ext cx="4012285" cy="365125"/>
          </a:xfrm>
          <a:prstGeom prst="rect">
            <a:avLst/>
          </a:prstGeom>
        </p:spPr>
        <p:txBody>
          <a:bodyPr vert="horz" lIns="91440" tIns="45720" rIns="91440" bIns="45720" rtlCol="0" anchor="ctr"/>
          <a:lstStyle>
            <a:lvl1pPr algn="l">
              <a:defRPr sz="1100">
                <a:solidFill>
                  <a:srgbClr val="FFFFFF"/>
                </a:solidFill>
              </a:defRPr>
            </a:lvl1pPr>
          </a:lstStyle>
          <a:p>
            <a:pPr defTabSz="914133"/>
            <a:r>
              <a:rPr lang="en-US" smtClean="0"/>
              <a:t>T-SQL Enhancements in SQL Server 2012</a:t>
            </a:r>
            <a:endParaRPr lang="en-US" dirty="0"/>
          </a:p>
        </p:txBody>
      </p:sp>
      <p:sp>
        <p:nvSpPr>
          <p:cNvPr id="12" name="Slide Number Placeholder 5"/>
          <p:cNvSpPr>
            <a:spLocks noGrp="1"/>
          </p:cNvSpPr>
          <p:nvPr>
            <p:ph type="sldNum" sz="quarter" idx="4"/>
          </p:nvPr>
        </p:nvSpPr>
        <p:spPr>
          <a:xfrm>
            <a:off x="304258" y="6286903"/>
            <a:ext cx="703661" cy="365125"/>
          </a:xfrm>
          <a:prstGeom prst="rect">
            <a:avLst/>
          </a:prstGeom>
        </p:spPr>
        <p:txBody>
          <a:bodyPr vert="horz" lIns="91440" tIns="45720" rIns="91440" bIns="45720" rtlCol="0" anchor="ctr"/>
          <a:lstStyle>
            <a:lvl1pPr algn="r">
              <a:defRPr sz="1100">
                <a:solidFill>
                  <a:srgbClr val="FFFFFF"/>
                </a:solidFill>
              </a:defRPr>
            </a:lvl1pPr>
          </a:lstStyle>
          <a:p>
            <a:pPr defTabSz="914133"/>
            <a:fld id="{87FD5303-69AD-2E4D-B18B-E5EED0F0A60B}" type="slidenum">
              <a:rPr lang="en-US" smtClean="0"/>
              <a:pPr defTabSz="914133"/>
              <a:t>‹#›</a:t>
            </a:fld>
            <a:r>
              <a:rPr lang="en-US" smtClean="0"/>
              <a:t>  |  </a:t>
            </a:r>
            <a:endParaRPr lang="en-US" dirty="0"/>
          </a:p>
        </p:txBody>
      </p:sp>
    </p:spTree>
    <p:extLst>
      <p:ext uri="{BB962C8B-B14F-4D97-AF65-F5344CB8AC3E}">
        <p14:creationId xmlns:p14="http://schemas.microsoft.com/office/powerpoint/2010/main" val="13045862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trips dir="rd"/>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5"/>
            <a:endParaRPr lang="en-US" sz="2200">
              <a:solidFill>
                <a:prstClr val="white"/>
              </a:solidFill>
            </a:endParaRPr>
          </a:p>
        </p:txBody>
      </p:sp>
      <p:sp>
        <p:nvSpPr>
          <p:cNvPr id="2" name="Title 1"/>
          <p:cNvSpPr>
            <a:spLocks noGrp="1"/>
          </p:cNvSpPr>
          <p:nvPr>
            <p:ph type="title"/>
            <p:custDataLst>
              <p:tags r:id="rId4"/>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3" y="6478600"/>
            <a:ext cx="2286000" cy="379413"/>
          </a:xfrm>
          <a:prstGeom prst="rect">
            <a:avLst/>
          </a:prstGeom>
        </p:spPr>
        <p:txBody>
          <a:bodyPr lIns="380797" tIns="38079" rIns="76159" bIns="3807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813" y="1330326"/>
            <a:ext cx="11365992" cy="255900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a:xfrm>
            <a:off x="11430008" y="6477875"/>
            <a:ext cx="761999"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3048001" y="6477886"/>
            <a:ext cx="8382000" cy="380127"/>
          </a:xfrm>
          <a:prstGeom prst="rect">
            <a:avLst/>
          </a:prstGeom>
        </p:spPr>
        <p:txBody>
          <a:bodyPr/>
          <a:lstStyle/>
          <a:p>
            <a:pPr defTabSz="914133"/>
            <a:endParaRPr lang="en-US" dirty="0">
              <a:solidFill>
                <a:srgbClr val="505050"/>
              </a:solidFill>
            </a:endParaRPr>
          </a:p>
        </p:txBody>
      </p:sp>
    </p:spTree>
    <p:extLst>
      <p:ext uri="{BB962C8B-B14F-4D97-AF65-F5344CB8AC3E}">
        <p14:creationId xmlns:p14="http://schemas.microsoft.com/office/powerpoint/2010/main" val="207337924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21" name="Rectangle 20"/>
          <p:cNvSpPr/>
          <p:nvPr userDrawn="1">
            <p:custDataLst>
              <p:tags r:id="rId3"/>
            </p:custDataLst>
          </p:nvPr>
        </p:nvSpPr>
        <p:spPr>
          <a:xfrm>
            <a:off x="8" y="6478600"/>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5"/>
            <a:endParaRPr lang="en-US" sz="2200">
              <a:solidFill>
                <a:prstClr val="white"/>
              </a:solidFill>
            </a:endParaRPr>
          </a:p>
        </p:txBody>
      </p:sp>
      <p:sp>
        <p:nvSpPr>
          <p:cNvPr id="2" name="Title 1"/>
          <p:cNvSpPr>
            <a:spLocks noGrp="1"/>
          </p:cNvSpPr>
          <p:nvPr>
            <p:ph type="title"/>
            <p:custDataLst>
              <p:tags r:id="rId4"/>
            </p:custDataLst>
          </p:nvPr>
        </p:nvSpPr>
        <p:spPr>
          <a:xfrm>
            <a:off x="0"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5"/>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589" indent="0">
              <a:buNone/>
              <a:defRPr/>
            </a:lvl2pPr>
            <a:lvl3pPr marL="588298" indent="0">
              <a:buNone/>
              <a:defRPr/>
            </a:lvl3pPr>
            <a:lvl4pPr marL="869886" indent="0">
              <a:buNone/>
              <a:defRPr/>
            </a:lvl4pPr>
            <a:lvl5pPr marL="1105205" indent="0">
              <a:buNone/>
              <a:defRPr/>
            </a:lvl5pPr>
          </a:lstStyle>
          <a:p>
            <a:pPr lvl="0"/>
            <a:r>
              <a:rPr lang="en-US" dirty="0" smtClean="0"/>
              <a:t>Click to add subtitle</a:t>
            </a:r>
          </a:p>
        </p:txBody>
      </p:sp>
      <p:sp>
        <p:nvSpPr>
          <p:cNvPr id="9" name="Footer Placeholder 2"/>
          <p:cNvSpPr txBox="1">
            <a:spLocks/>
          </p:cNvSpPr>
          <p:nvPr userDrawn="1">
            <p:custDataLst>
              <p:tags r:id="rId6"/>
            </p:custDataLst>
          </p:nvPr>
        </p:nvSpPr>
        <p:spPr>
          <a:xfrm>
            <a:off x="3" y="6478600"/>
            <a:ext cx="2286000" cy="379413"/>
          </a:xfrm>
          <a:prstGeom prst="rect">
            <a:avLst/>
          </a:prstGeom>
        </p:spPr>
        <p:txBody>
          <a:bodyPr lIns="380797" tIns="38079" rIns="76159" bIns="38079"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505050"/>
                </a:solidFill>
                <a:ea typeface="Segoe UI" pitchFamily="34" charset="0"/>
                <a:cs typeface="Segoe UI" pitchFamily="34" charset="0"/>
              </a:rPr>
              <a:t>EPG | MICROSOFT CONFIDENTIAL</a:t>
            </a:r>
            <a:endParaRPr lang="en-US" sz="800" dirty="0">
              <a:solidFill>
                <a:srgbClr val="505050"/>
              </a:solidFill>
              <a:ea typeface="Segoe UI" pitchFamily="34" charset="0"/>
              <a:cs typeface="Segoe UI" pitchFamily="34" charset="0"/>
            </a:endParaRPr>
          </a:p>
        </p:txBody>
      </p:sp>
      <p:sp>
        <p:nvSpPr>
          <p:cNvPr id="16" name="Text Placeholder 15"/>
          <p:cNvSpPr>
            <a:spLocks noGrp="1"/>
          </p:cNvSpPr>
          <p:nvPr>
            <p:ph type="body" sz="quarter" idx="14"/>
            <p:custDataLst>
              <p:tags r:id="rId7"/>
            </p:custDataLst>
          </p:nvPr>
        </p:nvSpPr>
        <p:spPr>
          <a:xfrm>
            <a:off x="404813" y="1330326"/>
            <a:ext cx="11365992" cy="255900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8"/>
            </p:custDataLst>
          </p:nvPr>
        </p:nvSpPr>
        <p:spPr>
          <a:xfrm>
            <a:off x="11430008" y="6477875"/>
            <a:ext cx="761999" cy="380126"/>
          </a:xfrm>
          <a:prstGeom prst="rect">
            <a:avLst/>
          </a:prstGeom>
        </p:spPr>
        <p:txBody>
          <a:bodyPr/>
          <a:lstStyle/>
          <a:p>
            <a:pPr defTabSz="914133"/>
            <a:fld id="{FAADACFB-7C71-4E89-89D2-7BBA40B7BFA9}" type="slidenum">
              <a:rPr lang="en-US" smtClean="0">
                <a:solidFill>
                  <a:srgbClr val="505050"/>
                </a:solidFill>
              </a:rPr>
              <a:pPr defTabSz="914133"/>
              <a:t>‹#›</a:t>
            </a:fld>
            <a:endParaRPr lang="en-US" dirty="0">
              <a:solidFill>
                <a:srgbClr val="505050"/>
              </a:solidFill>
            </a:endParaRPr>
          </a:p>
        </p:txBody>
      </p:sp>
      <p:sp>
        <p:nvSpPr>
          <p:cNvPr id="20" name="Footer Placeholder 19"/>
          <p:cNvSpPr>
            <a:spLocks noGrp="1"/>
          </p:cNvSpPr>
          <p:nvPr>
            <p:ph type="ftr" sz="quarter" idx="16"/>
            <p:custDataLst>
              <p:tags r:id="rId9"/>
            </p:custDataLst>
          </p:nvPr>
        </p:nvSpPr>
        <p:spPr>
          <a:xfrm>
            <a:off x="3048001" y="6477886"/>
            <a:ext cx="8382000" cy="380127"/>
          </a:xfrm>
          <a:prstGeom prst="rect">
            <a:avLst/>
          </a:prstGeom>
        </p:spPr>
        <p:txBody>
          <a:bodyPr/>
          <a:lstStyle/>
          <a:p>
            <a:pPr defTabSz="914133"/>
            <a:endParaRPr lang="en-US" dirty="0">
              <a:solidFill>
                <a:srgbClr val="505050"/>
              </a:solidFill>
            </a:endParaRPr>
          </a:p>
        </p:txBody>
      </p:sp>
    </p:spTree>
    <p:extLst>
      <p:ext uri="{BB962C8B-B14F-4D97-AF65-F5344CB8AC3E}">
        <p14:creationId xmlns:p14="http://schemas.microsoft.com/office/powerpoint/2010/main" val="195409365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Title Accent Color 4">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378967"/>
          </a:xfrm>
          <a:noFill/>
        </p:spPr>
        <p:txBody>
          <a:bodyPr tIns="91440" bIns="91440" anchor="t" anchorCtr="0"/>
          <a:lstStyle>
            <a:lvl1pPr>
              <a:defRPr sz="8623" spc="-98"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10757348" y="6196321"/>
            <a:ext cx="986067" cy="191269"/>
          </a:xfrm>
          <a:prstGeom prst="rect">
            <a:avLst/>
          </a:prstGeom>
        </p:spPr>
      </p:pic>
    </p:spTree>
    <p:extLst>
      <p:ext uri="{BB962C8B-B14F-4D97-AF65-F5344CB8AC3E}">
        <p14:creationId xmlns:p14="http://schemas.microsoft.com/office/powerpoint/2010/main" val="928482073"/>
      </p:ext>
    </p:extLst>
  </p:cSld>
  <p:clrMapOvr>
    <a:overrideClrMapping bg1="dk1" tx1="lt1" bg2="dk2" tx2="lt2" accent1="accent1" accent2="accent2" accent3="accent3" accent4="accent4" accent5="accent5" accent6="accent6" hlink="hlink" folHlink="folHlink"/>
  </p:clrMapOvr>
  <p:transition spd="slow">
    <p:strips dir="rd"/>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2 Light">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972126"/>
          </a:xfrm>
        </p:spPr>
        <p:txBody>
          <a:bodyPr/>
          <a:lstStyle>
            <a:lvl1pPr>
              <a:defRPr sz="5686">
                <a:gradFill>
                  <a:gsLst>
                    <a:gs pos="56637">
                      <a:schemeClr val="tx1"/>
                    </a:gs>
                    <a:gs pos="33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239" y="2546469"/>
            <a:ext cx="7171399" cy="6213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smtClean="0"/>
              <a:t>Click to edit Master text styles</a:t>
            </a:r>
          </a:p>
        </p:txBody>
      </p:sp>
    </p:spTree>
    <p:extLst>
      <p:ext uri="{BB962C8B-B14F-4D97-AF65-F5344CB8AC3E}">
        <p14:creationId xmlns:p14="http://schemas.microsoft.com/office/powerpoint/2010/main" val="14820283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mtClean="0"/>
              <a:t>按一下以編輯母片標題樣式</a:t>
            </a:r>
            <a:endParaRPr lang="en-US" dirty="0"/>
          </a:p>
        </p:txBody>
      </p:sp>
      <p:sp>
        <p:nvSpPr>
          <p:cNvPr id="3" name="Content Placeholder 2"/>
          <p:cNvSpPr>
            <a:spLocks noGrp="1"/>
          </p:cNvSpPr>
          <p:nvPr>
            <p:ph idx="1"/>
          </p:nvPr>
        </p:nvSpPr>
        <p:spPr/>
        <p:txBody>
          <a:bodyPr/>
          <a:lstStyle>
            <a:lvl1pPr marL="342834" indent="-342834">
              <a:buFont typeface="Wingdings" charset="2"/>
              <a:buChar char="§"/>
              <a:defRPr>
                <a:solidFill>
                  <a:schemeClr val="tx2"/>
                </a:solidFill>
              </a:defRPr>
            </a:lvl1pPr>
            <a:lvl2pPr marL="742808" indent="-285695">
              <a:buFont typeface="Wingdings" charset="2"/>
              <a:buChar char="§"/>
              <a:defRPr>
                <a:solidFill>
                  <a:srgbClr val="474947"/>
                </a:solidFill>
              </a:defRPr>
            </a:lvl2pPr>
            <a:lvl3pPr marL="1142781" indent="-228556">
              <a:buFont typeface="Wingdings" charset="2"/>
              <a:buChar char="§"/>
              <a:defRPr>
                <a:solidFill>
                  <a:srgbClr val="474947"/>
                </a:solidFill>
              </a:defRPr>
            </a:lvl3pPr>
            <a:lvl4pPr marL="1599893" indent="-228556">
              <a:buFont typeface="Wingdings" charset="2"/>
              <a:buChar char="§"/>
              <a:defRPr>
                <a:solidFill>
                  <a:srgbClr val="474947"/>
                </a:solidFill>
              </a:defRPr>
            </a:lvl4pPr>
            <a:lvl5pPr marL="2057005" indent="-228556">
              <a:buFont typeface="Wingdings" charset="2"/>
              <a:buChar char="§"/>
              <a:defRPr>
                <a:solidFill>
                  <a:srgbClr val="474947"/>
                </a:solidFill>
              </a:defRPr>
            </a:lvl5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en-US" dirty="0"/>
          </a:p>
        </p:txBody>
      </p:sp>
      <p:sp>
        <p:nvSpPr>
          <p:cNvPr id="13" name="Date Placeholder 3"/>
          <p:cNvSpPr>
            <a:spLocks noGrp="1"/>
          </p:cNvSpPr>
          <p:nvPr>
            <p:ph type="dt" sz="half" idx="2"/>
          </p:nvPr>
        </p:nvSpPr>
        <p:spPr>
          <a:xfrm>
            <a:off x="941773" y="6286903"/>
            <a:ext cx="1293428" cy="365125"/>
          </a:xfrm>
          <a:prstGeom prst="rect">
            <a:avLst/>
          </a:prstGeom>
        </p:spPr>
        <p:txBody>
          <a:bodyPr vert="horz" lIns="91440" tIns="45720" rIns="91440" bIns="45720" rtlCol="0" anchor="ctr"/>
          <a:lstStyle>
            <a:lvl1pPr algn="l">
              <a:defRPr sz="1100">
                <a:solidFill>
                  <a:srgbClr val="FFFFFF"/>
                </a:solidFill>
              </a:defRPr>
            </a:lvl1pPr>
          </a:lstStyle>
          <a:p>
            <a:pPr defTabSz="914133"/>
            <a:fld id="{BC9D952C-30BD-5A48-B9B2-4007503F783F}" type="datetime1">
              <a:rPr lang="en-US" smtClean="0"/>
              <a:pPr defTabSz="914133"/>
              <a:t>6/9/2014</a:t>
            </a:fld>
            <a:r>
              <a:rPr lang="en-US" smtClean="0"/>
              <a:t>  |</a:t>
            </a:r>
            <a:endParaRPr lang="en-US" dirty="0"/>
          </a:p>
        </p:txBody>
      </p:sp>
      <p:sp>
        <p:nvSpPr>
          <p:cNvPr id="14" name="Footer Placeholder 4"/>
          <p:cNvSpPr>
            <a:spLocks noGrp="1"/>
          </p:cNvSpPr>
          <p:nvPr>
            <p:ph type="ftr" sz="quarter" idx="3"/>
          </p:nvPr>
        </p:nvSpPr>
        <p:spPr>
          <a:xfrm>
            <a:off x="2235200" y="6286903"/>
            <a:ext cx="3863272" cy="365125"/>
          </a:xfrm>
          <a:prstGeom prst="rect">
            <a:avLst/>
          </a:prstGeom>
        </p:spPr>
        <p:txBody>
          <a:bodyPr vert="horz" lIns="91440" tIns="45720" rIns="91440" bIns="45720" rtlCol="0" anchor="ctr"/>
          <a:lstStyle>
            <a:lvl1pPr algn="l">
              <a:defRPr sz="1100">
                <a:solidFill>
                  <a:srgbClr val="FFFFFF"/>
                </a:solidFill>
              </a:defRPr>
            </a:lvl1pPr>
          </a:lstStyle>
          <a:p>
            <a:pPr defTabSz="914133"/>
            <a:r>
              <a:rPr lang="en-US" smtClean="0"/>
              <a:t>T-SQL Enhancements in SQL Server 2012</a:t>
            </a:r>
            <a:endParaRPr lang="en-US" dirty="0"/>
          </a:p>
        </p:txBody>
      </p:sp>
      <p:sp>
        <p:nvSpPr>
          <p:cNvPr id="15" name="Slide Number Placeholder 5"/>
          <p:cNvSpPr>
            <a:spLocks noGrp="1"/>
          </p:cNvSpPr>
          <p:nvPr>
            <p:ph type="sldNum" sz="quarter" idx="4"/>
          </p:nvPr>
        </p:nvSpPr>
        <p:spPr>
          <a:xfrm>
            <a:off x="304258" y="6286903"/>
            <a:ext cx="703661" cy="365125"/>
          </a:xfrm>
          <a:prstGeom prst="rect">
            <a:avLst/>
          </a:prstGeom>
        </p:spPr>
        <p:txBody>
          <a:bodyPr vert="horz" lIns="91440" tIns="45720" rIns="91440" bIns="45720" rtlCol="0" anchor="ctr"/>
          <a:lstStyle>
            <a:lvl1pPr algn="r">
              <a:defRPr sz="1100">
                <a:solidFill>
                  <a:srgbClr val="FFFFFF"/>
                </a:solidFill>
              </a:defRPr>
            </a:lvl1pPr>
          </a:lstStyle>
          <a:p>
            <a:pPr defTabSz="914133"/>
            <a:fld id="{87FD5303-69AD-2E4D-B18B-E5EED0F0A60B}" type="slidenum">
              <a:rPr lang="en-US" smtClean="0"/>
              <a:pPr defTabSz="914133"/>
              <a:t>‹#›</a:t>
            </a:fld>
            <a:r>
              <a:rPr lang="en-US" smtClean="0"/>
              <a:t>  |  </a:t>
            </a:r>
            <a:endParaRPr lang="en-US" dirty="0"/>
          </a:p>
        </p:txBody>
      </p:sp>
    </p:spTree>
    <p:extLst>
      <p:ext uri="{BB962C8B-B14F-4D97-AF65-F5344CB8AC3E}">
        <p14:creationId xmlns:p14="http://schemas.microsoft.com/office/powerpoint/2010/main" val="7970123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8084" y="223512"/>
            <a:ext cx="5046120" cy="908431"/>
          </a:xfrm>
          <a:prstGeom prst="rect">
            <a:avLst/>
          </a:prstGeom>
        </p:spPr>
      </p:pic>
    </p:spTree>
    <p:extLst>
      <p:ext uri="{BB962C8B-B14F-4D97-AF65-F5344CB8AC3E}">
        <p14:creationId xmlns:p14="http://schemas.microsoft.com/office/powerpoint/2010/main" val="90349280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alpha val="99000"/>
                  </a:srgbClr>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08001" y="1411552"/>
            <a:ext cx="11176001" cy="2564356"/>
          </a:xfrm>
        </p:spPr>
        <p:txBody>
          <a:bodyPr/>
          <a:lstStyle>
            <a:lvl1pPr>
              <a:lnSpc>
                <a:spcPct val="90000"/>
              </a:lnSpc>
              <a:buClr>
                <a:srgbClr val="FFFF00"/>
              </a:buClr>
              <a:defRPr>
                <a:solidFill>
                  <a:srgbClr val="FFFFFF">
                    <a:alpha val="99000"/>
                  </a:srgbClr>
                </a:solidFill>
              </a:defRPr>
            </a:lvl1pPr>
            <a:lvl2pPr>
              <a:lnSpc>
                <a:spcPct val="90000"/>
              </a:lnSpc>
              <a:defRPr>
                <a:solidFill>
                  <a:srgbClr val="FFFFFF">
                    <a:alpha val="99000"/>
                  </a:srgbClr>
                </a:solidFill>
              </a:defRPr>
            </a:lvl2pPr>
            <a:lvl3pPr>
              <a:lnSpc>
                <a:spcPct val="90000"/>
              </a:lnSpc>
              <a:defRPr>
                <a:solidFill>
                  <a:srgbClr val="FFFFFF">
                    <a:alpha val="99000"/>
                  </a:srgbClr>
                </a:solidFill>
              </a:defRPr>
            </a:lvl3pPr>
            <a:lvl4pPr>
              <a:lnSpc>
                <a:spcPct val="90000"/>
              </a:lnSpc>
              <a:defRPr>
                <a:solidFill>
                  <a:srgbClr val="FFFFFF">
                    <a:alpha val="99000"/>
                  </a:srgbClr>
                </a:solidFill>
              </a:defRPr>
            </a:lvl4pPr>
            <a:lvl5pPr>
              <a:lnSpc>
                <a:spcPct val="90000"/>
              </a:lnSpc>
              <a:defRPr>
                <a:solidFill>
                  <a:srgbClr val="FFFFFF">
                    <a:alpha val="99000"/>
                  </a:srgb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4562660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alpha val="99000"/>
                  </a:srgbClr>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08001" y="1411552"/>
            <a:ext cx="11176001" cy="2564356"/>
          </a:xfrm>
        </p:spPr>
        <p:txBody>
          <a:bodyPr/>
          <a:lstStyle>
            <a:lvl1pPr>
              <a:lnSpc>
                <a:spcPct val="90000"/>
              </a:lnSpc>
              <a:buClr>
                <a:srgbClr val="FFFF00"/>
              </a:buClr>
              <a:defRPr>
                <a:solidFill>
                  <a:srgbClr val="FFFFFF">
                    <a:alpha val="99000"/>
                  </a:srgbClr>
                </a:solidFill>
              </a:defRPr>
            </a:lvl1pPr>
            <a:lvl2pPr>
              <a:lnSpc>
                <a:spcPct val="90000"/>
              </a:lnSpc>
              <a:defRPr>
                <a:solidFill>
                  <a:srgbClr val="FFFFFF">
                    <a:alpha val="99000"/>
                  </a:srgbClr>
                </a:solidFill>
              </a:defRPr>
            </a:lvl2pPr>
            <a:lvl3pPr>
              <a:lnSpc>
                <a:spcPct val="90000"/>
              </a:lnSpc>
              <a:defRPr>
                <a:solidFill>
                  <a:srgbClr val="FFFFFF">
                    <a:alpha val="99000"/>
                  </a:srgbClr>
                </a:solidFill>
              </a:defRPr>
            </a:lvl3pPr>
            <a:lvl4pPr>
              <a:lnSpc>
                <a:spcPct val="90000"/>
              </a:lnSpc>
              <a:defRPr>
                <a:solidFill>
                  <a:srgbClr val="FFFFFF">
                    <a:alpha val="99000"/>
                  </a:srgbClr>
                </a:solidFill>
              </a:defRPr>
            </a:lvl4pPr>
            <a:lvl5pPr>
              <a:lnSpc>
                <a:spcPct val="90000"/>
              </a:lnSpc>
              <a:defRPr>
                <a:solidFill>
                  <a:srgbClr val="FFFFFF">
                    <a:alpha val="99000"/>
                  </a:srgb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51325513"/>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49675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72847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cSld>
  <p:clrMapOvr>
    <a:masterClrMapping/>
  </p:clrMapOvr>
  <p:transition>
    <p:strips dir="rd"/>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340988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58031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496718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56141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47548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541996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440036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478243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598519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smtClean="0">
                <a:solidFill>
                  <a:prstClr val="black">
                    <a:tint val="75000"/>
                  </a:prstClr>
                </a:solidFill>
              </a:rPr>
              <a:t>Microsoft Confidential</a:t>
            </a:r>
            <a:endParaRPr lang="en-US">
              <a:solidFill>
                <a:prstClr val="black">
                  <a:tint val="75000"/>
                </a:prstClr>
              </a:solidFill>
            </a:endParaRPr>
          </a:p>
        </p:txBody>
      </p:sp>
      <p:sp>
        <p:nvSpPr>
          <p:cNvPr id="4" name="Slide Number Placeholder 3"/>
          <p:cNvSpPr>
            <a:spLocks noGrp="1"/>
          </p:cNvSpPr>
          <p:nvPr>
            <p:ph type="sldNum" sz="quarter" idx="11"/>
          </p:nvPr>
        </p:nvSpPr>
        <p:spPr/>
        <p:txBody>
          <a:bodyPr/>
          <a:lstStyle/>
          <a:p>
            <a:fld id="{27258FFF-F925-446B-8502-81C933981705}" type="slidenum">
              <a:rPr lang="en-US" smtClean="0">
                <a:solidFill>
                  <a:prstClr val="black">
                    <a:tint val="75000"/>
                  </a:prstClr>
                </a:solidFill>
              </a:rPr>
              <a:pPr/>
              <a:t>‹#›</a:t>
            </a:fld>
            <a:endParaRPr lang="en-US">
              <a:solidFill>
                <a:prstClr val="black">
                  <a:tint val="75000"/>
                </a:prstClr>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4313"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794615457"/>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4.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6.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email">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8000" y="230195"/>
            <a:ext cx="1117600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08000" y="1412882"/>
            <a:ext cx="11176000" cy="2135969"/>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Lst>
  <p:transition>
    <p:strips dir="rd"/>
  </p:transition>
  <p:timing>
    <p:tnLst>
      <p:par>
        <p:cTn id="1" dur="indefinite" restart="never" nodeType="tmRoot"/>
      </p:par>
    </p:tnLst>
  </p:timing>
  <p:hf sldNum="0" hdr="0" dt="0"/>
  <p:txStyles>
    <p:title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UI" pitchFamily="34" charset="0"/>
          <a:ea typeface="+mn-ea"/>
          <a:cs typeface="Segoe UI" pitchFamily="34" charset="0"/>
        </a:defRPr>
      </a:lvl1pPr>
    </p:titleStyle>
    <p:bodyStyle>
      <a:lvl1pPr marL="396875" indent="-396875" algn="l" defTabSz="914363" rtl="0" eaLnBrk="1" latinLnBrk="0" hangingPunct="1">
        <a:lnSpc>
          <a:spcPct val="90000"/>
        </a:lnSpc>
        <a:spcBef>
          <a:spcPct val="20000"/>
        </a:spcBef>
        <a:buFontTx/>
        <a:buBlip>
          <a:blip r:embed="rId13"/>
        </a:buBlip>
        <a:defRPr sz="3200" kern="1200">
          <a:gradFill>
            <a:gsLst>
              <a:gs pos="0">
                <a:schemeClr val="tx1"/>
              </a:gs>
              <a:gs pos="100000">
                <a:schemeClr val="tx1"/>
              </a:gs>
            </a:gsLst>
            <a:lin ang="16200000" scaled="0"/>
          </a:gradFill>
          <a:latin typeface="Segoe UI" pitchFamily="34" charset="0"/>
          <a:ea typeface="+mn-ea"/>
          <a:cs typeface="+mn-cs"/>
        </a:defRPr>
      </a:lvl1pPr>
      <a:lvl2pPr marL="914400" indent="-396875" algn="l" defTabSz="914363" rtl="0" eaLnBrk="1" latinLnBrk="0" hangingPunct="1">
        <a:lnSpc>
          <a:spcPct val="90000"/>
        </a:lnSpc>
        <a:spcBef>
          <a:spcPct val="20000"/>
        </a:spcBef>
        <a:buFontTx/>
        <a:buBlip>
          <a:blip r:embed="rId14"/>
        </a:buBlip>
        <a:defRPr sz="2800" kern="1200">
          <a:gradFill>
            <a:gsLst>
              <a:gs pos="0">
                <a:schemeClr val="tx1"/>
              </a:gs>
              <a:gs pos="100000">
                <a:schemeClr val="tx1"/>
              </a:gs>
            </a:gsLst>
            <a:lin ang="16200000" scaled="0"/>
          </a:gradFill>
          <a:latin typeface="Segoe UI" pitchFamily="34" charset="0"/>
          <a:ea typeface="+mn-ea"/>
          <a:cs typeface="+mn-cs"/>
        </a:defRPr>
      </a:lvl2pPr>
      <a:lvl3pPr marL="1258888" indent="-344488" algn="l" defTabSz="914363" rtl="0" eaLnBrk="1" latinLnBrk="0" hangingPunct="1">
        <a:lnSpc>
          <a:spcPct val="90000"/>
        </a:lnSpc>
        <a:spcBef>
          <a:spcPct val="20000"/>
        </a:spcBef>
        <a:buFontTx/>
        <a:buBlip>
          <a:blip r:embed="rId14"/>
        </a:buBlip>
        <a:defRPr sz="2400" kern="1200">
          <a:gradFill>
            <a:gsLst>
              <a:gs pos="0">
                <a:schemeClr val="tx1"/>
              </a:gs>
              <a:gs pos="100000">
                <a:schemeClr val="tx1"/>
              </a:gs>
            </a:gsLst>
            <a:lin ang="16200000" scaled="0"/>
          </a:gradFill>
          <a:latin typeface="Segoe UI" pitchFamily="34" charset="0"/>
          <a:ea typeface="+mn-ea"/>
          <a:cs typeface="+mn-cs"/>
        </a:defRPr>
      </a:lvl3pPr>
      <a:lvl4pPr marL="1604963" indent="-346075" algn="l" defTabSz="914363" rtl="0" eaLnBrk="1" latinLnBrk="0" hangingPunct="1">
        <a:lnSpc>
          <a:spcPct val="90000"/>
        </a:lnSpc>
        <a:spcBef>
          <a:spcPct val="20000"/>
        </a:spcBef>
        <a:buFontTx/>
        <a:buBlip>
          <a:blip r:embed="rId14"/>
        </a:buBlip>
        <a:defRPr sz="2400" kern="1200">
          <a:gradFill>
            <a:gsLst>
              <a:gs pos="0">
                <a:schemeClr val="tx1"/>
              </a:gs>
              <a:gs pos="100000">
                <a:schemeClr val="tx1"/>
              </a:gs>
            </a:gsLst>
            <a:lin ang="16200000" scaled="0"/>
          </a:gradFill>
          <a:latin typeface="Segoe UI" pitchFamily="34" charset="0"/>
          <a:ea typeface="+mn-ea"/>
          <a:cs typeface="+mn-cs"/>
        </a:defRPr>
      </a:lvl4pPr>
      <a:lvl5pPr marL="1941513" indent="-336550" algn="l" defTabSz="914363" rtl="0" eaLnBrk="1" latinLnBrk="0" hangingPunct="1">
        <a:lnSpc>
          <a:spcPct val="90000"/>
        </a:lnSpc>
        <a:spcBef>
          <a:spcPct val="20000"/>
        </a:spcBef>
        <a:buFontTx/>
        <a:buBlip>
          <a:blip r:embed="rId14"/>
        </a:buBlip>
        <a:defRPr sz="2400" kern="1200">
          <a:gradFill>
            <a:gsLst>
              <a:gs pos="0">
                <a:schemeClr val="tx1"/>
              </a:gs>
              <a:gs pos="100000">
                <a:schemeClr val="tx1"/>
              </a:gs>
            </a:gsLst>
            <a:lin ang="16200000" scaled="0"/>
          </a:gradFill>
          <a:latin typeface="Segoe UI" pitchFamily="34" charset="0"/>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2"/>
            <a:ext cx="11151917" cy="734625"/>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199734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078108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Lst>
  <p:transition>
    <p:fade/>
  </p:transition>
  <p:timing>
    <p:tnLst>
      <p:par>
        <p:cTn id="1" dur="indefinite" restart="never" nodeType="tmRoot"/>
      </p:par>
    </p:tnLst>
  </p:timing>
  <p:hf hdr="0" dt="0"/>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820" marR="0" indent="-254820"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52" baseline="0">
          <a:gradFill>
            <a:gsLst>
              <a:gs pos="1250">
                <a:schemeClr val="tx1"/>
              </a:gs>
              <a:gs pos="100000">
                <a:schemeClr val="tx1"/>
              </a:gs>
            </a:gsLst>
            <a:lin ang="5400000" scaled="0"/>
          </a:gradFill>
          <a:latin typeface="+mj-lt"/>
          <a:ea typeface="+mn-ea"/>
          <a:cs typeface="+mn-cs"/>
        </a:defRPr>
      </a:lvl1pPr>
      <a:lvl2pPr marL="429862" marR="0" indent="-175041" algn="l" defTabSz="685845" rtl="0" eaLnBrk="1" fontAlgn="auto" latinLnBrk="0" hangingPunct="1">
        <a:lnSpc>
          <a:spcPct val="90000"/>
        </a:lnSpc>
        <a:spcBef>
          <a:spcPct val="20000"/>
        </a:spcBef>
        <a:spcAft>
          <a:spcPts val="0"/>
        </a:spcAft>
        <a:buClrTx/>
        <a:buSzPct val="90000"/>
        <a:buFont typeface="Wingdings" pitchFamily="2" charset="2"/>
        <a:buChar char=""/>
        <a:tabLst/>
        <a:defRPr sz="2059" kern="1200" spc="0" baseline="0">
          <a:gradFill>
            <a:gsLst>
              <a:gs pos="1250">
                <a:schemeClr val="tx1"/>
              </a:gs>
              <a:gs pos="100000">
                <a:schemeClr val="tx1"/>
              </a:gs>
            </a:gsLst>
            <a:lin ang="5400000" scaled="0"/>
          </a:gradFill>
          <a:latin typeface="+mn-lt"/>
          <a:ea typeface="+mn-ea"/>
          <a:cs typeface="+mn-cs"/>
        </a:defRPr>
      </a:lvl2pPr>
      <a:lvl3pPr marL="598948" marR="0" indent="-169087" algn="l" defTabSz="685845" rtl="0" eaLnBrk="1" fontAlgn="auto" latinLnBrk="0" hangingPunct="1">
        <a:lnSpc>
          <a:spcPct val="90000"/>
        </a:lnSpc>
        <a:spcBef>
          <a:spcPct val="20000"/>
        </a:spcBef>
        <a:spcAft>
          <a:spcPts val="0"/>
        </a:spcAft>
        <a:buClrTx/>
        <a:buSzPct val="90000"/>
        <a:buFont typeface="Wingdings" pitchFamily="2" charset="2"/>
        <a:buChar char=""/>
        <a:tabLst>
          <a:tab pos="598948" algn="l"/>
        </a:tabLst>
        <a:defRPr sz="2059" kern="1200" spc="0" baseline="0">
          <a:gradFill>
            <a:gsLst>
              <a:gs pos="1250">
                <a:schemeClr val="tx1"/>
              </a:gs>
              <a:gs pos="100000">
                <a:schemeClr val="tx1"/>
              </a:gs>
            </a:gsLst>
            <a:lin ang="5400000" scaled="0"/>
          </a:gradFill>
          <a:latin typeface="+mn-lt"/>
          <a:ea typeface="+mn-ea"/>
          <a:cs typeface="+mn-cs"/>
        </a:defRPr>
      </a:lvl3pPr>
      <a:lvl4pPr marL="772798" marR="0" indent="-173850" algn="l" defTabSz="685845" rtl="0" eaLnBrk="1" fontAlgn="auto" latinLnBrk="0" hangingPunct="1">
        <a:lnSpc>
          <a:spcPct val="90000"/>
        </a:lnSpc>
        <a:spcBef>
          <a:spcPct val="20000"/>
        </a:spcBef>
        <a:spcAft>
          <a:spcPts val="0"/>
        </a:spcAft>
        <a:buClrTx/>
        <a:buSzPct val="90000"/>
        <a:buFont typeface="Wingdings"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941885" marR="0" indent="-169087" algn="l" defTabSz="685845" rtl="0" eaLnBrk="1" fontAlgn="auto" latinLnBrk="0" hangingPunct="1">
        <a:lnSpc>
          <a:spcPct val="90000"/>
        </a:lnSpc>
        <a:spcBef>
          <a:spcPct val="20000"/>
        </a:spcBef>
        <a:spcAft>
          <a:spcPts val="0"/>
        </a:spcAft>
        <a:buClrTx/>
        <a:buSzPct val="90000"/>
        <a:buFont typeface="Wingdings" pitchFamily="2" charset="2"/>
        <a:buChar char=""/>
        <a:tabLst>
          <a:tab pos="941885" algn="l"/>
        </a:tabLst>
        <a:defRPr sz="1765"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628730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969280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39" y="286381"/>
            <a:ext cx="11151917" cy="92794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078183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6" r:id="rId22"/>
    <p:sldLayoutId id="2147483777" r:id="rId23"/>
    <p:sldLayoutId id="2147483778" r:id="rId24"/>
    <p:sldLayoutId id="2147483779" r:id="rId25"/>
    <p:sldLayoutId id="2147483780" r:id="rId26"/>
  </p:sldLayoutIdLst>
  <p:transition>
    <p:fade/>
  </p:transition>
  <p:timing>
    <p:tnLst>
      <p:par>
        <p:cTn id="1" dur="indefinite" restart="never" nodeType="tmRoot"/>
      </p:par>
    </p:tnLst>
  </p:timing>
  <p:hf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Wingdings"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798516" algn="l"/>
        </a:tabLst>
        <a:defRPr sz="2745"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Wingdings"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Wingdings" pitchFamily="2" charset="2"/>
        <a:buChar char=""/>
        <a:tabLst>
          <a:tab pos="1255718" algn="l"/>
        </a:tabLst>
        <a:defRPr sz="2353"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397FE-D313-4E54-9E72-81E354DD3300}" type="datetimeFigureOut">
              <a:rPr lang="en-US" smtClean="0">
                <a:solidFill>
                  <a:prstClr val="black">
                    <a:tint val="75000"/>
                  </a:prstClr>
                </a:solidFill>
              </a:rPr>
              <a:pPr/>
              <a:t>6/9/2014</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1B31AB-7318-4D7E-9A70-501B8E05BD0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5948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54.xml"/><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54.xml"/><Relationship Id="rId5" Type="http://schemas.openxmlformats.org/officeDocument/2006/relationships/image" Target="../media/image27.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4.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7.xml"/><Relationship Id="rId1" Type="http://schemas.openxmlformats.org/officeDocument/2006/relationships/vmlDrawing" Target="../drawings/vmlDrawing4.vml"/><Relationship Id="rId5" Type="http://schemas.openxmlformats.org/officeDocument/2006/relationships/image" Target="../media/image44.jpe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slideLayout" Target="../slideLayouts/slideLayout99.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image" Target="../media/image5.emf"/><Relationship Id="rId11" Type="http://schemas.openxmlformats.org/officeDocument/2006/relationships/image" Target="../media/image50.png"/><Relationship Id="rId5" Type="http://schemas.openxmlformats.org/officeDocument/2006/relationships/oleObject" Target="../embeddings/oleObject5.bin"/><Relationship Id="rId10" Type="http://schemas.openxmlformats.org/officeDocument/2006/relationships/image" Target="../media/image49.png"/><Relationship Id="rId4" Type="http://schemas.openxmlformats.org/officeDocument/2006/relationships/notesSlide" Target="../notesSlides/notesSlide14.xml"/><Relationship Id="rId9" Type="http://schemas.openxmlformats.org/officeDocument/2006/relationships/image" Target="../media/image48.png"/><Relationship Id="rId1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microsoft.com/office/2007/relationships/hdphoto" Target="../media/hdphoto2.wdp"/><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microsoft.com/office/2007/relationships/hdphoto" Target="../media/hdphoto1.wdp"/><Relationship Id="rId9" Type="http://schemas.microsoft.com/office/2007/relationships/hdphoto" Target="../media/hdphoto3.wdp"/></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55440" y="1844824"/>
            <a:ext cx="10242551" cy="1523495"/>
          </a:xfrm>
        </p:spPr>
        <p:txBody>
          <a:bodyPr/>
          <a:lstStyle/>
          <a:p>
            <a:r>
              <a:rPr lang="zh-TW" altLang="en-US" sz="6600" dirty="0"/>
              <a:t>微軟雲端技術</a:t>
            </a:r>
            <a:r>
              <a:rPr lang="zh-TW" altLang="en-US" sz="6600" dirty="0" smtClean="0"/>
              <a:t>分享</a:t>
            </a:r>
            <a:r>
              <a:rPr lang="en-US" altLang="zh-TW" sz="6600" dirty="0" smtClean="0"/>
              <a:t/>
            </a:r>
            <a:br>
              <a:rPr lang="en-US" altLang="zh-TW" sz="6600" dirty="0" smtClean="0"/>
            </a:br>
            <a:r>
              <a:rPr lang="en-US" altLang="zh-TW" sz="6600" dirty="0" smtClean="0"/>
              <a:t>-</a:t>
            </a:r>
            <a:r>
              <a:rPr lang="zh-TW" altLang="en-US" sz="4000" dirty="0"/>
              <a:t>開南大學</a:t>
            </a:r>
            <a:r>
              <a:rPr lang="zh-TW" altLang="en-US" sz="4000" dirty="0" smtClean="0"/>
              <a:t>導入 </a:t>
            </a:r>
            <a:r>
              <a:rPr lang="en-US" altLang="zh-TW" sz="4000" dirty="0" smtClean="0"/>
              <a:t>Azure </a:t>
            </a:r>
            <a:r>
              <a:rPr lang="zh-TW" altLang="en-US" sz="4000" dirty="0"/>
              <a:t>打造零抱怨網路選課系統 </a:t>
            </a:r>
            <a:endParaRPr lang="zh-TW" altLang="en-US" sz="6600" dirty="0"/>
          </a:p>
        </p:txBody>
      </p:sp>
      <p:sp>
        <p:nvSpPr>
          <p:cNvPr id="3" name="Subtitle 2"/>
          <p:cNvSpPr>
            <a:spLocks noGrp="1"/>
          </p:cNvSpPr>
          <p:nvPr>
            <p:ph type="subTitle" idx="1"/>
          </p:nvPr>
        </p:nvSpPr>
        <p:spPr>
          <a:xfrm>
            <a:off x="1199456" y="4077072"/>
            <a:ext cx="7681913" cy="1820310"/>
          </a:xfrm>
        </p:spPr>
        <p:txBody>
          <a:bodyPr/>
          <a:lstStyle/>
          <a:p>
            <a:endParaRPr lang="en-US" altLang="zh-TW" sz="2400" dirty="0" smtClean="0"/>
          </a:p>
          <a:p>
            <a:r>
              <a:rPr lang="zh-TW" altLang="en-US" sz="2400" dirty="0" smtClean="0"/>
              <a:t>盧凱平</a:t>
            </a:r>
            <a:endParaRPr lang="en-US" altLang="zh-TW" sz="2400" dirty="0" smtClean="0"/>
          </a:p>
          <a:p>
            <a:r>
              <a:rPr lang="zh-TW" altLang="en-US" sz="2400" dirty="0" smtClean="0"/>
              <a:t>教育事業協</a:t>
            </a:r>
            <a:r>
              <a:rPr lang="zh-TW" altLang="en-US" sz="2400" dirty="0"/>
              <a:t>理</a:t>
            </a:r>
            <a:endParaRPr lang="en-US" altLang="zh-TW" sz="2400" dirty="0"/>
          </a:p>
          <a:p>
            <a:r>
              <a:rPr lang="zh-TW" altLang="en-US" sz="2400" dirty="0"/>
              <a:t>公共業務事業群</a:t>
            </a:r>
            <a:endParaRPr lang="en-US" altLang="zh-TW" sz="2400" dirty="0"/>
          </a:p>
          <a:p>
            <a:r>
              <a:rPr lang="zh-TW" altLang="en-US" sz="2400" dirty="0"/>
              <a:t>台灣微軟</a:t>
            </a:r>
            <a:endParaRPr lang="en-US" altLang="zh-TW" sz="2400" dirty="0"/>
          </a:p>
          <a:p>
            <a:endParaRPr lang="zh-TW" altLang="en-US" sz="2400" dirty="0"/>
          </a:p>
        </p:txBody>
      </p:sp>
    </p:spTree>
    <p:extLst>
      <p:ext uri="{BB962C8B-B14F-4D97-AF65-F5344CB8AC3E}">
        <p14:creationId xmlns:p14="http://schemas.microsoft.com/office/powerpoint/2010/main" val="501748932"/>
      </p:ext>
    </p:extLst>
  </p:cSld>
  <p:clrMapOvr>
    <a:masterClrMapping/>
  </p:clrMapOvr>
  <p:transition>
    <p:strips dir="rd"/>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ounded Rectangle 70"/>
          <p:cNvSpPr/>
          <p:nvPr/>
        </p:nvSpPr>
        <p:spPr bwMode="auto">
          <a:xfrm>
            <a:off x="5951001" y="1168309"/>
            <a:ext cx="2204127" cy="1462226"/>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4" name="Rounded Rectangle 3"/>
          <p:cNvSpPr/>
          <p:nvPr/>
        </p:nvSpPr>
        <p:spPr bwMode="auto">
          <a:xfrm>
            <a:off x="4438520" y="1034176"/>
            <a:ext cx="2278189" cy="16717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8" name="Rounded Rectangle 7"/>
          <p:cNvSpPr/>
          <p:nvPr/>
        </p:nvSpPr>
        <p:spPr bwMode="auto">
          <a:xfrm>
            <a:off x="4829650" y="768541"/>
            <a:ext cx="2559923" cy="2243600"/>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9" name="Rounded Rectangle 8"/>
          <p:cNvSpPr/>
          <p:nvPr/>
        </p:nvSpPr>
        <p:spPr bwMode="auto">
          <a:xfrm>
            <a:off x="4166647" y="1659429"/>
            <a:ext cx="2036713" cy="121188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1" name="Rounded Rectangle 10"/>
          <p:cNvSpPr/>
          <p:nvPr/>
        </p:nvSpPr>
        <p:spPr bwMode="auto">
          <a:xfrm>
            <a:off x="6450806" y="977230"/>
            <a:ext cx="1350450" cy="90068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23" name="Rounded Rectangle 22"/>
          <p:cNvSpPr/>
          <p:nvPr/>
        </p:nvSpPr>
        <p:spPr bwMode="auto">
          <a:xfrm>
            <a:off x="4544689" y="4610090"/>
            <a:ext cx="3084873" cy="2114550"/>
          </a:xfrm>
          <a:prstGeom prst="roundRect">
            <a:avLst>
              <a:gd name="adj" fmla="val 6579"/>
            </a:avLst>
          </a:prstGeom>
          <a:noFill/>
          <a:ln w="28575">
            <a:solidFill>
              <a:schemeClr val="bg1">
                <a:lumMod val="75000"/>
              </a:schemeClr>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6" name="Group 5"/>
          <p:cNvGrpSpPr/>
          <p:nvPr/>
        </p:nvGrpSpPr>
        <p:grpSpPr>
          <a:xfrm>
            <a:off x="6432157" y="4761545"/>
            <a:ext cx="542332" cy="623207"/>
            <a:chOff x="328301" y="3881331"/>
            <a:chExt cx="722921" cy="623207"/>
          </a:xfrm>
        </p:grpSpPr>
        <p:sp>
          <p:nvSpPr>
            <p:cNvPr id="5" name="Hexagon 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sp>
        <p:nvSpPr>
          <p:cNvPr id="14" name="Oval 13"/>
          <p:cNvSpPr/>
          <p:nvPr/>
        </p:nvSpPr>
        <p:spPr bwMode="auto">
          <a:xfrm>
            <a:off x="5499516" y="880601"/>
            <a:ext cx="81664" cy="108857"/>
          </a:xfrm>
          <a:prstGeom prst="ellipse">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solidFill>
                <a:srgbClr val="FFFFFF"/>
              </a:solidFill>
            </a:endParaRPr>
          </a:p>
        </p:txBody>
      </p:sp>
      <p:sp>
        <p:nvSpPr>
          <p:cNvPr id="16" name="TextBox 15"/>
          <p:cNvSpPr txBox="1"/>
          <p:nvPr/>
        </p:nvSpPr>
        <p:spPr>
          <a:xfrm>
            <a:off x="5007012" y="430050"/>
            <a:ext cx="2129289" cy="221599"/>
          </a:xfrm>
          <a:prstGeom prst="rect">
            <a:avLst/>
          </a:prstGeom>
          <a:noFill/>
        </p:spPr>
        <p:txBody>
          <a:bodyPr wrap="square" lIns="0" tIns="0" rIns="0" bIns="0" rtlCol="0">
            <a:spAutoFit/>
          </a:bodyPr>
          <a:lstStyle/>
          <a:p>
            <a:pPr algn="ctr" defTabSz="1218987">
              <a:lnSpc>
                <a:spcPct val="80000"/>
              </a:lnSpc>
              <a:spcBef>
                <a:spcPct val="20000"/>
              </a:spcBef>
              <a:buSzPct val="80000"/>
            </a:pPr>
            <a:r>
              <a:rPr lang="en-US" dirty="0">
                <a:gradFill>
                  <a:gsLst>
                    <a:gs pos="0">
                      <a:srgbClr val="FFFFFF"/>
                    </a:gs>
                    <a:gs pos="100000">
                      <a:srgbClr val="FFFFFF"/>
                    </a:gs>
                  </a:gsLst>
                  <a:lin ang="5400000" scaled="0"/>
                </a:gradFill>
              </a:rPr>
              <a:t>Microsoft Azure</a:t>
            </a:r>
          </a:p>
        </p:txBody>
      </p:sp>
      <p:sp>
        <p:nvSpPr>
          <p:cNvPr id="18" name="TextBox 17"/>
          <p:cNvSpPr txBox="1"/>
          <p:nvPr/>
        </p:nvSpPr>
        <p:spPr>
          <a:xfrm>
            <a:off x="2176990" y="5743525"/>
            <a:ext cx="2129289" cy="227113"/>
          </a:xfrm>
          <a:prstGeom prst="rect">
            <a:avLst/>
          </a:prstGeom>
          <a:noFill/>
        </p:spPr>
        <p:txBody>
          <a:bodyPr wrap="square" lIns="0" tIns="0" rIns="0" bIns="0" rtlCol="0">
            <a:spAutoFit/>
          </a:bodyPr>
          <a:lstStyle/>
          <a:p>
            <a:pPr algn="r" defTabSz="1218987">
              <a:lnSpc>
                <a:spcPct val="80000"/>
              </a:lnSpc>
              <a:spcBef>
                <a:spcPct val="20000"/>
              </a:spcBef>
              <a:buSzPct val="80000"/>
            </a:pPr>
            <a:r>
              <a:rPr lang="zh-TW" altLang="en-US" dirty="0">
                <a:gradFill>
                  <a:gsLst>
                    <a:gs pos="0">
                      <a:srgbClr val="FFFFFF"/>
                    </a:gs>
                    <a:gs pos="100000">
                      <a:srgbClr val="FFFFFF"/>
                    </a:gs>
                  </a:gsLst>
                  <a:lin ang="5400000" scaled="0"/>
                </a:gradFill>
              </a:rPr>
              <a:t>您的資料中心</a:t>
            </a:r>
            <a:endParaRPr lang="en-US" dirty="0">
              <a:gradFill>
                <a:gsLst>
                  <a:gs pos="0">
                    <a:srgbClr val="FFFFFF"/>
                  </a:gs>
                  <a:gs pos="100000">
                    <a:srgbClr val="FFFFFF"/>
                  </a:gs>
                </a:gsLst>
                <a:lin ang="5400000" scaled="0"/>
              </a:gradFill>
            </a:endParaRPr>
          </a:p>
        </p:txBody>
      </p:sp>
      <p:grpSp>
        <p:nvGrpSpPr>
          <p:cNvPr id="26" name="Group 25"/>
          <p:cNvGrpSpPr/>
          <p:nvPr/>
        </p:nvGrpSpPr>
        <p:grpSpPr>
          <a:xfrm>
            <a:off x="5929922" y="4761545"/>
            <a:ext cx="542332" cy="623207"/>
            <a:chOff x="328301" y="3881331"/>
            <a:chExt cx="722921" cy="623207"/>
          </a:xfrm>
        </p:grpSpPr>
        <p:sp>
          <p:nvSpPr>
            <p:cNvPr id="27" name="Hexagon 26"/>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grpSp>
        <p:nvGrpSpPr>
          <p:cNvPr id="29" name="Group 28"/>
          <p:cNvGrpSpPr/>
          <p:nvPr/>
        </p:nvGrpSpPr>
        <p:grpSpPr>
          <a:xfrm>
            <a:off x="5427688" y="4761545"/>
            <a:ext cx="542332" cy="623207"/>
            <a:chOff x="328301" y="3881331"/>
            <a:chExt cx="722921" cy="623207"/>
          </a:xfrm>
        </p:grpSpPr>
        <p:sp>
          <p:nvSpPr>
            <p:cNvPr id="30" name="Hexagon 2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1" name="Picture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grpSp>
        <p:nvGrpSpPr>
          <p:cNvPr id="35" name="Group 34"/>
          <p:cNvGrpSpPr/>
          <p:nvPr/>
        </p:nvGrpSpPr>
        <p:grpSpPr>
          <a:xfrm>
            <a:off x="6193300" y="1731312"/>
            <a:ext cx="542332" cy="623207"/>
            <a:chOff x="328301" y="3881331"/>
            <a:chExt cx="722921" cy="623207"/>
          </a:xfrm>
        </p:grpSpPr>
        <p:sp>
          <p:nvSpPr>
            <p:cNvPr id="36" name="Hexagon 35"/>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grpSp>
        <p:nvGrpSpPr>
          <p:cNvPr id="38" name="Group 37"/>
          <p:cNvGrpSpPr/>
          <p:nvPr/>
        </p:nvGrpSpPr>
        <p:grpSpPr>
          <a:xfrm>
            <a:off x="5678816" y="1731312"/>
            <a:ext cx="542332" cy="623207"/>
            <a:chOff x="328301" y="3881331"/>
            <a:chExt cx="722921" cy="623207"/>
          </a:xfrm>
        </p:grpSpPr>
        <p:sp>
          <p:nvSpPr>
            <p:cNvPr id="39" name="Hexagon 38"/>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grpSp>
        <p:nvGrpSpPr>
          <p:cNvPr id="54" name="Group 53"/>
          <p:cNvGrpSpPr/>
          <p:nvPr/>
        </p:nvGrpSpPr>
        <p:grpSpPr>
          <a:xfrm>
            <a:off x="4989947" y="5524492"/>
            <a:ext cx="2211914" cy="864991"/>
            <a:chOff x="3849232" y="5927272"/>
            <a:chExt cx="2948451" cy="864991"/>
          </a:xfrm>
        </p:grpSpPr>
        <p:grpSp>
          <p:nvGrpSpPr>
            <p:cNvPr id="25" name="Group 24"/>
            <p:cNvGrpSpPr/>
            <p:nvPr/>
          </p:nvGrpSpPr>
          <p:grpSpPr>
            <a:xfrm>
              <a:off x="3849232" y="6384280"/>
              <a:ext cx="2948451" cy="407983"/>
              <a:chOff x="-830593" y="6105876"/>
              <a:chExt cx="5019459" cy="694552"/>
            </a:xfrm>
          </p:grpSpPr>
          <p:pic>
            <p:nvPicPr>
              <p:cNvPr id="20" name="Picture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7326" y="6105876"/>
                <a:ext cx="1607803" cy="694552"/>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81063" y="6105876"/>
                <a:ext cx="1607803" cy="694552"/>
              </a:xfrm>
              <a:prstGeom prst="rect">
                <a:avLst/>
              </a:prstGeom>
            </p:spPr>
          </p:pic>
          <p:pic>
            <p:nvPicPr>
              <p:cNvPr id="48" name="Picture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0593" y="6105876"/>
                <a:ext cx="1607803" cy="694552"/>
              </a:xfrm>
              <a:prstGeom prst="rect">
                <a:avLst/>
              </a:prstGeom>
            </p:spPr>
          </p:pic>
        </p:grpSp>
        <p:grpSp>
          <p:nvGrpSpPr>
            <p:cNvPr id="49" name="Group 48"/>
            <p:cNvGrpSpPr/>
            <p:nvPr/>
          </p:nvGrpSpPr>
          <p:grpSpPr>
            <a:xfrm>
              <a:off x="3849232" y="5927272"/>
              <a:ext cx="2948451" cy="407983"/>
              <a:chOff x="-830593" y="6105876"/>
              <a:chExt cx="5019459" cy="694552"/>
            </a:xfrm>
          </p:grpSpPr>
          <p:pic>
            <p:nvPicPr>
              <p:cNvPr id="50" name="Picture 4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7326" y="6105876"/>
                <a:ext cx="1607803" cy="694552"/>
              </a:xfrm>
              <a:prstGeom prst="rect">
                <a:avLst/>
              </a:prstGeom>
            </p:spPr>
          </p:pic>
          <p:pic>
            <p:nvPicPr>
              <p:cNvPr id="51" name="Picture 5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81063" y="6105876"/>
                <a:ext cx="1607803" cy="694552"/>
              </a:xfrm>
              <a:prstGeom prst="rect">
                <a:avLst/>
              </a:prstGeom>
            </p:spPr>
          </p:pic>
          <p:pic>
            <p:nvPicPr>
              <p:cNvPr id="53" name="Picture 5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0593" y="6105876"/>
                <a:ext cx="1607803" cy="694552"/>
              </a:xfrm>
              <a:prstGeom prst="rect">
                <a:avLst/>
              </a:prstGeom>
            </p:spPr>
          </p:pic>
        </p:grpSp>
      </p:grpSp>
      <p:grpSp>
        <p:nvGrpSpPr>
          <p:cNvPr id="32" name="Group 31"/>
          <p:cNvGrpSpPr/>
          <p:nvPr/>
        </p:nvGrpSpPr>
        <p:grpSpPr>
          <a:xfrm>
            <a:off x="5932050" y="1141129"/>
            <a:ext cx="542332" cy="623207"/>
            <a:chOff x="328301" y="3881331"/>
            <a:chExt cx="722921" cy="623207"/>
          </a:xfrm>
        </p:grpSpPr>
        <p:sp>
          <p:nvSpPr>
            <p:cNvPr id="33" name="Hexagon 32"/>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4" name="Picture 3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grpSp>
        <p:nvGrpSpPr>
          <p:cNvPr id="65" name="Group 64"/>
          <p:cNvGrpSpPr/>
          <p:nvPr/>
        </p:nvGrpSpPr>
        <p:grpSpPr>
          <a:xfrm>
            <a:off x="5418702" y="1144332"/>
            <a:ext cx="542332" cy="623207"/>
            <a:chOff x="328301" y="3881331"/>
            <a:chExt cx="722921" cy="623207"/>
          </a:xfrm>
        </p:grpSpPr>
        <p:sp>
          <p:nvSpPr>
            <p:cNvPr id="66" name="Hexagon 65"/>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grpSp>
        <p:nvGrpSpPr>
          <p:cNvPr id="68" name="Group 67"/>
          <p:cNvGrpSpPr/>
          <p:nvPr/>
        </p:nvGrpSpPr>
        <p:grpSpPr>
          <a:xfrm>
            <a:off x="5160476" y="1720688"/>
            <a:ext cx="542332" cy="623207"/>
            <a:chOff x="328301" y="3881331"/>
            <a:chExt cx="722921" cy="623207"/>
          </a:xfrm>
        </p:grpSpPr>
        <p:sp>
          <p:nvSpPr>
            <p:cNvPr id="69" name="Hexagon 68"/>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2298" y="4051799"/>
              <a:ext cx="314925" cy="314925"/>
            </a:xfrm>
            <a:prstGeom prst="rect">
              <a:avLst/>
            </a:prstGeom>
          </p:spPr>
        </p:pic>
      </p:grpSp>
    </p:spTree>
    <p:extLst>
      <p:ext uri="{BB962C8B-B14F-4D97-AF65-F5344CB8AC3E}">
        <p14:creationId xmlns:p14="http://schemas.microsoft.com/office/powerpoint/2010/main" val="260751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500"/>
                                        <p:tgtEl>
                                          <p:spTgt spid="11"/>
                                        </p:tgtEl>
                                      </p:cBhvr>
                                    </p:animEffect>
                                    <p:anim calcmode="lin" valueType="num">
                                      <p:cBhvr>
                                        <p:cTn id="13" dur="1500" fill="hold"/>
                                        <p:tgtEl>
                                          <p:spTgt spid="11"/>
                                        </p:tgtEl>
                                        <p:attrNameLst>
                                          <p:attrName>ppt_x</p:attrName>
                                        </p:attrNameLst>
                                      </p:cBhvr>
                                      <p:tavLst>
                                        <p:tav tm="0">
                                          <p:val>
                                            <p:strVal val="#ppt_x"/>
                                          </p:val>
                                        </p:tav>
                                        <p:tav tm="100000">
                                          <p:val>
                                            <p:strVal val="#ppt_x"/>
                                          </p:val>
                                        </p:tav>
                                      </p:tavLst>
                                    </p:anim>
                                    <p:anim calcmode="lin" valueType="num">
                                      <p:cBhvr>
                                        <p:cTn id="14" dur="1500" fill="hold"/>
                                        <p:tgtEl>
                                          <p:spTgt spid="11"/>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1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42" presetClass="entr" presetSubtype="0" fill="hold" grpId="0" nodeType="withEffect">
                                  <p:stCondLst>
                                    <p:cond delay="20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1500"/>
                                        <p:tgtEl>
                                          <p:spTgt spid="9"/>
                                        </p:tgtEl>
                                      </p:cBhvr>
                                    </p:animEffect>
                                    <p:anim calcmode="lin" valueType="num">
                                      <p:cBhvr>
                                        <p:cTn id="21" dur="1500" fill="hold"/>
                                        <p:tgtEl>
                                          <p:spTgt spid="9"/>
                                        </p:tgtEl>
                                        <p:attrNameLst>
                                          <p:attrName>ppt_x</p:attrName>
                                        </p:attrNameLst>
                                      </p:cBhvr>
                                      <p:tavLst>
                                        <p:tav tm="0">
                                          <p:val>
                                            <p:strVal val="#ppt_x"/>
                                          </p:val>
                                        </p:tav>
                                        <p:tav tm="100000">
                                          <p:val>
                                            <p:strVal val="#ppt_x"/>
                                          </p:val>
                                        </p:tav>
                                      </p:tavLst>
                                    </p:anim>
                                    <p:anim calcmode="lin" valueType="num">
                                      <p:cBhvr>
                                        <p:cTn id="22" dur="1500" fill="hold"/>
                                        <p:tgtEl>
                                          <p:spTgt spid="9"/>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1000"/>
                                        <p:tgtEl>
                                          <p:spTgt spid="71"/>
                                        </p:tgtEl>
                                      </p:cBhvr>
                                    </p:animEffect>
                                    <p:anim calcmode="lin" valueType="num">
                                      <p:cBhvr>
                                        <p:cTn id="26" dur="1000" fill="hold"/>
                                        <p:tgtEl>
                                          <p:spTgt spid="71"/>
                                        </p:tgtEl>
                                        <p:attrNameLst>
                                          <p:attrName>ppt_x</p:attrName>
                                        </p:attrNameLst>
                                      </p:cBhvr>
                                      <p:tavLst>
                                        <p:tav tm="0">
                                          <p:val>
                                            <p:strVal val="#ppt_x"/>
                                          </p:val>
                                        </p:tav>
                                        <p:tav tm="100000">
                                          <p:val>
                                            <p:strVal val="#ppt_x"/>
                                          </p:val>
                                        </p:tav>
                                      </p:tavLst>
                                    </p:anim>
                                    <p:anim calcmode="lin" valueType="num">
                                      <p:cBhvr>
                                        <p:cTn id="27" dur="1000" fill="hold"/>
                                        <p:tgtEl>
                                          <p:spTgt spid="71"/>
                                        </p:tgtEl>
                                        <p:attrNameLst>
                                          <p:attrName>ppt_y</p:attrName>
                                        </p:attrNameLst>
                                      </p:cBhvr>
                                      <p:tavLst>
                                        <p:tav tm="0">
                                          <p:val>
                                            <p:strVal val="#ppt_y+.1"/>
                                          </p:val>
                                        </p:tav>
                                        <p:tav tm="100000">
                                          <p:val>
                                            <p:strVal val="#ppt_y"/>
                                          </p:val>
                                        </p:tav>
                                      </p:tavLst>
                                    </p:anim>
                                  </p:childTnLst>
                                </p:cTn>
                              </p:par>
                              <p:par>
                                <p:cTn id="28" presetID="10" presetClass="entr" presetSubtype="0" fill="hold" grpId="0" nodeType="withEffect">
                                  <p:stCondLst>
                                    <p:cond delay="30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1000"/>
                                        <p:tgtEl>
                                          <p:spTgt spid="18"/>
                                        </p:tgtEl>
                                      </p:cBhvr>
                                    </p:animEffect>
                                  </p:childTnLst>
                                </p:cTn>
                              </p:par>
                              <p:par>
                                <p:cTn id="31" presetID="22" presetClass="entr" presetSubtype="1" fill="hold" grpId="0" nodeType="withEffect">
                                  <p:stCondLst>
                                    <p:cond delay="300"/>
                                  </p:stCondLst>
                                  <p:childTnLst>
                                    <p:set>
                                      <p:cBhvr>
                                        <p:cTn id="32" dur="1" fill="hold">
                                          <p:stCondLst>
                                            <p:cond delay="0"/>
                                          </p:stCondLst>
                                        </p:cTn>
                                        <p:tgtEl>
                                          <p:spTgt spid="23"/>
                                        </p:tgtEl>
                                        <p:attrNameLst>
                                          <p:attrName>style.visibility</p:attrName>
                                        </p:attrNameLst>
                                      </p:cBhvr>
                                      <p:to>
                                        <p:strVal val="visible"/>
                                      </p:to>
                                    </p:set>
                                    <p:animEffect transition="in" filter="wipe(up)">
                                      <p:cBhvr>
                                        <p:cTn id="33" dur="500"/>
                                        <p:tgtEl>
                                          <p:spTgt spid="2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1000"/>
                                        <p:tgtEl>
                                          <p:spTgt spid="16"/>
                                        </p:tgtEl>
                                      </p:cBhvr>
                                    </p:animEffect>
                                  </p:childTnLst>
                                </p:cTn>
                              </p:par>
                              <p:par>
                                <p:cTn id="40" presetID="10" presetClass="entr" presetSubtype="0" fill="hold"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childTnLst>
                          </p:cTn>
                        </p:par>
                        <p:par>
                          <p:cTn id="43" fill="hold">
                            <p:stCondLst>
                              <p:cond delay="2100"/>
                            </p:stCondLst>
                            <p:childTnLst>
                              <p:par>
                                <p:cTn id="44" presetID="10" presetClass="entr" presetSubtype="0" fill="hold" nodeType="after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par>
                                <p:cTn id="47" presetID="10" presetClass="entr" presetSubtype="0" fill="hold" nodeType="withEffect">
                                  <p:stCondLst>
                                    <p:cond delay="10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500"/>
                                        <p:tgtEl>
                                          <p:spTgt spid="35"/>
                                        </p:tgtEl>
                                      </p:cBhvr>
                                    </p:animEffect>
                                  </p:childTnLst>
                                </p:cTn>
                              </p:par>
                              <p:par>
                                <p:cTn id="50" presetID="10" presetClass="entr" presetSubtype="0" fill="hold" nodeType="withEffect">
                                  <p:stCondLst>
                                    <p:cond delay="20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500"/>
                                        <p:tgtEl>
                                          <p:spTgt spid="38"/>
                                        </p:tgtEl>
                                      </p:cBhvr>
                                    </p:animEffect>
                                  </p:childTnLst>
                                </p:cTn>
                              </p:par>
                              <p:par>
                                <p:cTn id="53" presetID="10" presetClass="entr" presetSubtype="0" fill="hold" nodeType="withEffect">
                                  <p:stCondLst>
                                    <p:cond delay="30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nodeType="withEffect">
                                  <p:stCondLst>
                                    <p:cond delay="400"/>
                                  </p:stCondLst>
                                  <p:childTnLst>
                                    <p:set>
                                      <p:cBhvr>
                                        <p:cTn id="57" dur="1" fill="hold">
                                          <p:stCondLst>
                                            <p:cond delay="0"/>
                                          </p:stCondLst>
                                        </p:cTn>
                                        <p:tgtEl>
                                          <p:spTgt spid="32"/>
                                        </p:tgtEl>
                                        <p:attrNameLst>
                                          <p:attrName>style.visibility</p:attrName>
                                        </p:attrNameLst>
                                      </p:cBhvr>
                                      <p:to>
                                        <p:strVal val="visible"/>
                                      </p:to>
                                    </p:set>
                                    <p:animEffect transition="in" filter="fade">
                                      <p:cBhvr>
                                        <p:cTn id="58" dur="500"/>
                                        <p:tgtEl>
                                          <p:spTgt spid="32"/>
                                        </p:tgtEl>
                                      </p:cBhvr>
                                    </p:animEffect>
                                  </p:childTnLst>
                                </p:cTn>
                              </p:par>
                            </p:childTnLst>
                          </p:cTn>
                        </p:par>
                        <p:par>
                          <p:cTn id="59" fill="hold">
                            <p:stCondLst>
                              <p:cond delay="3000"/>
                            </p:stCondLst>
                            <p:childTnLst>
                              <p:par>
                                <p:cTn id="60" presetID="10" presetClass="entr" presetSubtype="0" fill="hold" nodeType="afterEffect">
                                  <p:stCondLst>
                                    <p:cond delay="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500"/>
                                        <p:tgtEl>
                                          <p:spTgt spid="29"/>
                                        </p:tgtEl>
                                      </p:cBhvr>
                                    </p:animEffect>
                                  </p:childTnLst>
                                </p:cTn>
                              </p:par>
                              <p:par>
                                <p:cTn id="63" presetID="10" presetClass="entr" presetSubtype="0" fill="hold" nodeType="withEffect">
                                  <p:stCondLst>
                                    <p:cond delay="100"/>
                                  </p:stCondLst>
                                  <p:childTnLst>
                                    <p:set>
                                      <p:cBhvr>
                                        <p:cTn id="64" dur="1" fill="hold">
                                          <p:stCondLst>
                                            <p:cond delay="0"/>
                                          </p:stCondLst>
                                        </p:cTn>
                                        <p:tgtEl>
                                          <p:spTgt spid="6"/>
                                        </p:tgtEl>
                                        <p:attrNameLst>
                                          <p:attrName>style.visibility</p:attrName>
                                        </p:attrNameLst>
                                      </p:cBhvr>
                                      <p:to>
                                        <p:strVal val="visible"/>
                                      </p:to>
                                    </p:set>
                                    <p:animEffect transition="in" filter="fade">
                                      <p:cBhvr>
                                        <p:cTn id="65" dur="500"/>
                                        <p:tgtEl>
                                          <p:spTgt spid="6"/>
                                        </p:tgtEl>
                                      </p:cBhvr>
                                    </p:animEffect>
                                  </p:childTnLst>
                                </p:cTn>
                              </p:par>
                              <p:par>
                                <p:cTn id="66" presetID="10" presetClass="entr" presetSubtype="0" fill="hold" nodeType="withEffect">
                                  <p:stCondLst>
                                    <p:cond delay="20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childTnLst>
                          </p:cTn>
                        </p:par>
                      </p:childTnLst>
                    </p:cTn>
                  </p:par>
                  <p:par>
                    <p:cTn id="69" fill="hold">
                      <p:stCondLst>
                        <p:cond delay="indefinite"/>
                      </p:stCondLst>
                      <p:childTnLst>
                        <p:par>
                          <p:cTn id="70" fill="hold">
                            <p:stCondLst>
                              <p:cond delay="0"/>
                            </p:stCondLst>
                            <p:childTnLst>
                              <p:par>
                                <p:cTn id="71" presetID="64" presetClass="path" presetSubtype="0" accel="50000" decel="50000" fill="hold" nodeType="clickEffect">
                                  <p:stCondLst>
                                    <p:cond delay="0"/>
                                  </p:stCondLst>
                                  <p:childTnLst>
                                    <p:animMotion origin="layout" path="M 5.55556E-7 -3.33333E-6 L 0.00191 -0.52847 " pathEditMode="relative" rAng="0" ptsTypes="AA">
                                      <p:cBhvr>
                                        <p:cTn id="72" dur="2000" fill="hold"/>
                                        <p:tgtEl>
                                          <p:spTgt spid="6"/>
                                        </p:tgtEl>
                                        <p:attrNameLst>
                                          <p:attrName>ppt_x</p:attrName>
                                          <p:attrName>ppt_y</p:attrName>
                                        </p:attrNameLst>
                                      </p:cBhvr>
                                      <p:rCtr x="87" y="-26435"/>
                                    </p:animMotion>
                                  </p:childTnLst>
                                </p:cTn>
                              </p:par>
                            </p:childTnLst>
                          </p:cTn>
                        </p:par>
                      </p:childTnLst>
                    </p:cTn>
                  </p:par>
                  <p:par>
                    <p:cTn id="73" fill="hold">
                      <p:stCondLst>
                        <p:cond delay="indefinite"/>
                      </p:stCondLst>
                      <p:childTnLst>
                        <p:par>
                          <p:cTn id="74" fill="hold">
                            <p:stCondLst>
                              <p:cond delay="0"/>
                            </p:stCondLst>
                            <p:childTnLst>
                              <p:par>
                                <p:cTn id="75" presetID="64" presetClass="path" presetSubtype="0" accel="50000" decel="50000" fill="hold" nodeType="clickEffect">
                                  <p:stCondLst>
                                    <p:cond delay="0"/>
                                  </p:stCondLst>
                                  <p:childTnLst>
                                    <p:animMotion origin="layout" path="M 3.05556E-6 3.7037E-6 L -0.02483 0.44398 " pathEditMode="relative" rAng="0" ptsTypes="AA">
                                      <p:cBhvr>
                                        <p:cTn id="76" dur="2000" fill="hold"/>
                                        <p:tgtEl>
                                          <p:spTgt spid="68"/>
                                        </p:tgtEl>
                                        <p:attrNameLst>
                                          <p:attrName>ppt_x</p:attrName>
                                          <p:attrName>ppt_y</p:attrName>
                                        </p:attrNameLst>
                                      </p:cBhvr>
                                      <p:rCtr x="-1250" y="2219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4" grpId="0" animBg="1"/>
      <p:bldP spid="8" grpId="0" animBg="1"/>
      <p:bldP spid="9" grpId="0" animBg="1"/>
      <p:bldP spid="11" grpId="0" animBg="1"/>
      <p:bldP spid="23" grpId="0" animBg="1"/>
      <p:bldP spid="14" grpId="0" animBg="1"/>
      <p:bldP spid="16" grpId="0"/>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 your infrastructure</a:t>
            </a:r>
            <a:endParaRPr lang="en-US" dirty="0"/>
          </a:p>
        </p:txBody>
      </p:sp>
      <p:sp>
        <p:nvSpPr>
          <p:cNvPr id="29" name="TextBox 28"/>
          <p:cNvSpPr txBox="1"/>
          <p:nvPr/>
        </p:nvSpPr>
        <p:spPr>
          <a:xfrm>
            <a:off x="242437" y="1486031"/>
            <a:ext cx="7003500" cy="1950631"/>
          </a:xfrm>
          <a:prstGeom prst="rect">
            <a:avLst/>
          </a:prstGeom>
          <a:noFill/>
        </p:spPr>
        <p:txBody>
          <a:bodyPr wrap="square" lIns="179259" tIns="143407" rIns="179259" bIns="143407" rtlCol="0">
            <a:noAutofit/>
          </a:bodyPr>
          <a:lstStyle/>
          <a:p>
            <a:pPr defTabSz="914133">
              <a:spcBef>
                <a:spcPct val="20000"/>
              </a:spcBef>
              <a:spcAft>
                <a:spcPts val="1175"/>
              </a:spcAft>
              <a:buSzPct val="80000"/>
            </a:pPr>
            <a:r>
              <a:rPr lang="en-US" sz="3137" spc="-49" dirty="0">
                <a:gradFill>
                  <a:gsLst>
                    <a:gs pos="2917">
                      <a:srgbClr val="00188F"/>
                    </a:gs>
                    <a:gs pos="30000">
                      <a:srgbClr val="00188F"/>
                    </a:gs>
                  </a:gsLst>
                  <a:lin ang="5400000" scaled="0"/>
                </a:gradFill>
                <a:latin typeface="Segoe UI Light"/>
              </a:rPr>
              <a:t>Windows Azure Infrastructure Services</a:t>
            </a:r>
          </a:p>
          <a:p>
            <a:pPr defTabSz="914133">
              <a:spcAft>
                <a:spcPts val="588"/>
              </a:spcAft>
            </a:pPr>
            <a:r>
              <a:rPr lang="en-US" sz="1961" spc="-49" dirty="0">
                <a:gradFill>
                  <a:gsLst>
                    <a:gs pos="0">
                      <a:srgbClr val="505050"/>
                    </a:gs>
                    <a:gs pos="100000">
                      <a:srgbClr val="505050"/>
                    </a:gs>
                  </a:gsLst>
                  <a:lin ang="0" scaled="0"/>
                </a:gradFill>
              </a:rPr>
              <a:t>Virtual Machines with on-demand scale &amp; compute</a:t>
            </a:r>
          </a:p>
          <a:p>
            <a:pPr defTabSz="914133">
              <a:spcAft>
                <a:spcPts val="588"/>
              </a:spcAft>
            </a:pPr>
            <a:r>
              <a:rPr lang="en-US" sz="1961" spc="-49" dirty="0">
                <a:gradFill>
                  <a:gsLst>
                    <a:gs pos="0">
                      <a:srgbClr val="505050"/>
                    </a:gs>
                    <a:gs pos="100000">
                      <a:srgbClr val="505050"/>
                    </a:gs>
                  </a:gsLst>
                  <a:lin ang="0" scaled="0"/>
                </a:gradFill>
              </a:rPr>
              <a:t>Spin up and tear down in minutes, no hardware provisioning</a:t>
            </a:r>
          </a:p>
          <a:p>
            <a:pPr defTabSz="914133">
              <a:spcAft>
                <a:spcPts val="588"/>
              </a:spcAft>
            </a:pPr>
            <a:r>
              <a:rPr lang="en-US" sz="1961" spc="-49" dirty="0">
                <a:gradFill>
                  <a:gsLst>
                    <a:gs pos="0">
                      <a:srgbClr val="505050"/>
                    </a:gs>
                    <a:gs pos="100000">
                      <a:srgbClr val="505050"/>
                    </a:gs>
                  </a:gsLst>
                  <a:lin ang="0" scaled="0"/>
                </a:gradFill>
              </a:rPr>
              <a:t>Connect with on-premises Active Directory and domains</a:t>
            </a:r>
          </a:p>
          <a:p>
            <a:pPr defTabSz="914133">
              <a:spcAft>
                <a:spcPts val="588"/>
              </a:spcAft>
            </a:pPr>
            <a:r>
              <a:rPr lang="en-US" sz="1961" spc="-49" dirty="0">
                <a:gradFill>
                  <a:gsLst>
                    <a:gs pos="0">
                      <a:srgbClr val="505050"/>
                    </a:gs>
                    <a:gs pos="100000">
                      <a:srgbClr val="505050"/>
                    </a:gs>
                  </a:gsLst>
                  <a:lin ang="0" scaled="0"/>
                </a:gradFill>
              </a:rPr>
              <a:t>Integrates  Windows Azure Virtual Networks </a:t>
            </a:r>
          </a:p>
          <a:p>
            <a:pPr defTabSz="914133">
              <a:spcAft>
                <a:spcPts val="588"/>
              </a:spcAft>
            </a:pPr>
            <a:r>
              <a:rPr lang="en-US" sz="1961" spc="-49" dirty="0">
                <a:gradFill>
                  <a:gsLst>
                    <a:gs pos="0">
                      <a:srgbClr val="505050"/>
                    </a:gs>
                    <a:gs pos="100000">
                      <a:srgbClr val="505050"/>
                    </a:gs>
                  </a:gsLst>
                  <a:lin ang="0" scaled="0"/>
                </a:gradFill>
              </a:rPr>
              <a:t>Use what you know, manage with System Center</a:t>
            </a:r>
          </a:p>
          <a:p>
            <a:pPr defTabSz="914133">
              <a:spcAft>
                <a:spcPts val="588"/>
              </a:spcAft>
            </a:pPr>
            <a:r>
              <a:rPr lang="en-US" sz="1961" spc="-49" dirty="0">
                <a:gradFill>
                  <a:gsLst>
                    <a:gs pos="0">
                      <a:srgbClr val="505050"/>
                    </a:gs>
                    <a:gs pos="100000">
                      <a:srgbClr val="505050"/>
                    </a:gs>
                  </a:gsLst>
                  <a:lin ang="0" scaled="0"/>
                </a:gradFill>
              </a:rPr>
              <a:t>Integrates with Azure Platform, Apps, and Storage Services</a:t>
            </a:r>
          </a:p>
          <a:p>
            <a:pPr defTabSz="914133"/>
            <a:endParaRPr lang="en-US" sz="1961" spc="-49" dirty="0">
              <a:gradFill>
                <a:gsLst>
                  <a:gs pos="0">
                    <a:srgbClr val="505050"/>
                  </a:gs>
                  <a:gs pos="100000">
                    <a:srgbClr val="505050"/>
                  </a:gs>
                </a:gsLst>
                <a:lin ang="0" scaled="0"/>
              </a:gradFill>
            </a:endParaRPr>
          </a:p>
        </p:txBody>
      </p:sp>
      <p:grpSp>
        <p:nvGrpSpPr>
          <p:cNvPr id="17" name="Group 16"/>
          <p:cNvGrpSpPr/>
          <p:nvPr/>
        </p:nvGrpSpPr>
        <p:grpSpPr>
          <a:xfrm>
            <a:off x="8229766" y="1584939"/>
            <a:ext cx="1032355" cy="1927451"/>
            <a:chOff x="8395093" y="1615957"/>
            <a:chExt cx="1053205" cy="1966379"/>
          </a:xfrm>
        </p:grpSpPr>
        <p:sp>
          <p:nvSpPr>
            <p:cNvPr id="36" name="Rectangle 35"/>
            <p:cNvSpPr/>
            <p:nvPr/>
          </p:nvSpPr>
          <p:spPr>
            <a:xfrm>
              <a:off x="8407787" y="1678854"/>
              <a:ext cx="1040511" cy="437105"/>
            </a:xfrm>
            <a:prstGeom prst="rect">
              <a:avLst/>
            </a:prstGeom>
          </p:spPr>
          <p:txBody>
            <a:bodyPr wrap="square">
              <a:spAutoFit/>
            </a:bodyPr>
            <a:lstStyle/>
            <a:p>
              <a:pPr defTabSz="914133" fontAlgn="base">
                <a:lnSpc>
                  <a:spcPct val="80000"/>
                </a:lnSpc>
                <a:spcBef>
                  <a:spcPct val="0"/>
                </a:spcBef>
                <a:spcAft>
                  <a:spcPct val="0"/>
                </a:spcAft>
              </a:pPr>
              <a:r>
                <a:rPr lang="en-US" sz="1372" kern="0" dirty="0">
                  <a:gradFill>
                    <a:gsLst>
                      <a:gs pos="2917">
                        <a:srgbClr val="00188F"/>
                      </a:gs>
                      <a:gs pos="30000">
                        <a:srgbClr val="00188F"/>
                      </a:gs>
                    </a:gsLst>
                    <a:lin ang="5400000" scaled="0"/>
                  </a:gradFill>
                </a:rPr>
                <a:t>Virtual Network</a:t>
              </a:r>
            </a:p>
          </p:txBody>
        </p:sp>
        <p:cxnSp>
          <p:nvCxnSpPr>
            <p:cNvPr id="37" name="Straight Connector 36"/>
            <p:cNvCxnSpPr/>
            <p:nvPr/>
          </p:nvCxnSpPr>
          <p:spPr>
            <a:xfrm flipH="1" flipV="1">
              <a:off x="8395093" y="1650990"/>
              <a:ext cx="17654" cy="1931346"/>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615957"/>
              <a:ext cx="1032548" cy="17201"/>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6907200" y="2636121"/>
            <a:ext cx="1886150" cy="2845334"/>
            <a:chOff x="6879959" y="2570938"/>
            <a:chExt cx="1924244" cy="2902801"/>
          </a:xfrm>
        </p:grpSpPr>
        <p:pic>
          <p:nvPicPr>
            <p:cNvPr id="35" name="Picture 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79959" y="2570938"/>
              <a:ext cx="1857462" cy="2775203"/>
            </a:xfrm>
            <a:prstGeom prst="rect">
              <a:avLst/>
            </a:prstGeom>
          </p:spPr>
        </p:pic>
        <p:grpSp>
          <p:nvGrpSpPr>
            <p:cNvPr id="39" name="Group 38"/>
            <p:cNvGrpSpPr/>
            <p:nvPr/>
          </p:nvGrpSpPr>
          <p:grpSpPr>
            <a:xfrm>
              <a:off x="7836130" y="4402410"/>
              <a:ext cx="723336" cy="600824"/>
              <a:chOff x="5864359" y="5124721"/>
              <a:chExt cx="1012967" cy="1087004"/>
            </a:xfrm>
          </p:grpSpPr>
          <p:grpSp>
            <p:nvGrpSpPr>
              <p:cNvPr id="43" name="Group 42"/>
              <p:cNvGrpSpPr/>
              <p:nvPr/>
            </p:nvGrpSpPr>
            <p:grpSpPr>
              <a:xfrm flipH="1">
                <a:off x="6564705" y="5124721"/>
                <a:ext cx="312621" cy="1087004"/>
                <a:chOff x="777765" y="3577608"/>
                <a:chExt cx="810242" cy="2817260"/>
              </a:xfrm>
              <a:solidFill>
                <a:srgbClr val="FFFFFF"/>
              </a:solidFill>
            </p:grpSpPr>
            <p:sp>
              <p:nvSpPr>
                <p:cNvPr id="45" name="Freeform 741"/>
                <p:cNvSpPr>
                  <a:spLocks/>
                </p:cNvSpPr>
                <p:nvPr/>
              </p:nvSpPr>
              <p:spPr bwMode="auto">
                <a:xfrm>
                  <a:off x="777765" y="4273234"/>
                  <a:ext cx="810242"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895919" fontAlgn="base">
                    <a:lnSpc>
                      <a:spcPct val="90000"/>
                    </a:lnSpc>
                    <a:spcBef>
                      <a:spcPct val="0"/>
                    </a:spcBef>
                    <a:spcAft>
                      <a:spcPct val="0"/>
                    </a:spcAft>
                  </a:pPr>
                  <a:endParaRPr lang="en-US" sz="1961" spc="-49">
                    <a:gradFill>
                      <a:gsLst>
                        <a:gs pos="1250">
                          <a:srgbClr val="EFEFEF"/>
                        </a:gs>
                        <a:gs pos="10417">
                          <a:srgbClr val="EFEFEF"/>
                        </a:gs>
                      </a:gsLst>
                      <a:lin ang="5400000" scaled="0"/>
                    </a:gradFill>
                  </a:endParaRPr>
                </a:p>
              </p:txBody>
            </p:sp>
            <p:sp>
              <p:nvSpPr>
                <p:cNvPr id="46" name="Oval 742"/>
                <p:cNvSpPr>
                  <a:spLocks noChangeArrowheads="1"/>
                </p:cNvSpPr>
                <p:nvPr/>
              </p:nvSpPr>
              <p:spPr bwMode="auto">
                <a:xfrm>
                  <a:off x="941336" y="3577608"/>
                  <a:ext cx="483100" cy="635993"/>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895919" fontAlgn="base">
                    <a:lnSpc>
                      <a:spcPct val="90000"/>
                    </a:lnSpc>
                    <a:spcBef>
                      <a:spcPct val="0"/>
                    </a:spcBef>
                    <a:spcAft>
                      <a:spcPct val="0"/>
                    </a:spcAft>
                  </a:pPr>
                  <a:endParaRPr lang="en-US" sz="1961" spc="-49">
                    <a:gradFill>
                      <a:gsLst>
                        <a:gs pos="1250">
                          <a:srgbClr val="EFEFEF"/>
                        </a:gs>
                        <a:gs pos="10417">
                          <a:srgbClr val="EFEFEF"/>
                        </a:gs>
                      </a:gsLst>
                      <a:lin ang="5400000" scaled="0"/>
                    </a:gradFill>
                  </a:endParaRPr>
                </a:p>
              </p:txBody>
            </p:sp>
          </p:grpSp>
          <p:sp>
            <p:nvSpPr>
              <p:cNvPr id="44" name="Freeform 34"/>
              <p:cNvSpPr>
                <a:spLocks noEditPoints="1"/>
              </p:cNvSpPr>
              <p:nvPr/>
            </p:nvSpPr>
            <p:spPr bwMode="auto">
              <a:xfrm>
                <a:off x="5864359" y="5378912"/>
                <a:ext cx="624687" cy="506044"/>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grpSp>
        <p:pic>
          <p:nvPicPr>
            <p:cNvPr id="40" name="Picture 3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715013" y="3689032"/>
              <a:ext cx="844451" cy="555999"/>
            </a:xfrm>
            <a:prstGeom prst="rect">
              <a:avLst/>
            </a:prstGeom>
          </p:spPr>
        </p:pic>
        <p:pic>
          <p:nvPicPr>
            <p:cNvPr id="99" name="Picture 9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56456" y="3744228"/>
              <a:ext cx="325748" cy="341128"/>
            </a:xfrm>
            <a:prstGeom prst="rect">
              <a:avLst/>
            </a:prstGeom>
          </p:spPr>
        </p:pic>
        <p:sp>
          <p:nvSpPr>
            <p:cNvPr id="9" name="TextBox 8"/>
            <p:cNvSpPr txBox="1"/>
            <p:nvPr/>
          </p:nvSpPr>
          <p:spPr>
            <a:xfrm>
              <a:off x="7614291" y="4782961"/>
              <a:ext cx="1189912" cy="690778"/>
            </a:xfrm>
            <a:prstGeom prst="rect">
              <a:avLst/>
            </a:prstGeom>
            <a:noFill/>
          </p:spPr>
          <p:txBody>
            <a:bodyPr wrap="square" lIns="179259" tIns="143407" rIns="179259" bIns="143407" rtlCol="0">
              <a:spAutoFit/>
            </a:bodyPr>
            <a:lstStyle/>
            <a:p>
              <a:pPr defTabSz="914133">
                <a:lnSpc>
                  <a:spcPct val="90000"/>
                </a:lnSpc>
              </a:pPr>
              <a:r>
                <a:rPr lang="en-US" sz="1371" spc="-49" dirty="0">
                  <a:solidFill>
                    <a:srgbClr val="FFFFFF"/>
                  </a:solidFill>
                </a:rPr>
                <a:t>Your </a:t>
              </a:r>
              <a:br>
                <a:rPr lang="en-US" sz="1371" spc="-49" dirty="0">
                  <a:solidFill>
                    <a:srgbClr val="FFFFFF"/>
                  </a:solidFill>
                </a:rPr>
              </a:br>
              <a:r>
                <a:rPr lang="en-US" sz="1371" spc="-49" dirty="0">
                  <a:solidFill>
                    <a:srgbClr val="FFFFFF"/>
                  </a:solidFill>
                </a:rPr>
                <a:t>Datacenter</a:t>
              </a:r>
            </a:p>
          </p:txBody>
        </p:sp>
      </p:grpSp>
      <p:grpSp>
        <p:nvGrpSpPr>
          <p:cNvPr id="16" name="Group 15"/>
          <p:cNvGrpSpPr/>
          <p:nvPr/>
        </p:nvGrpSpPr>
        <p:grpSpPr>
          <a:xfrm>
            <a:off x="8390879" y="974526"/>
            <a:ext cx="3677943" cy="5100186"/>
            <a:chOff x="8902413" y="1253528"/>
            <a:chExt cx="3390524" cy="4256583"/>
          </a:xfrm>
        </p:grpSpPr>
        <p:grpSp>
          <p:nvGrpSpPr>
            <p:cNvPr id="13" name="Group 12"/>
            <p:cNvGrpSpPr/>
            <p:nvPr/>
          </p:nvGrpSpPr>
          <p:grpSpPr>
            <a:xfrm>
              <a:off x="8902413" y="1253528"/>
              <a:ext cx="3390524" cy="4256583"/>
              <a:chOff x="8818610" y="1360407"/>
              <a:chExt cx="3390524" cy="4256583"/>
            </a:xfrm>
          </p:grpSpPr>
          <p:grpSp>
            <p:nvGrpSpPr>
              <p:cNvPr id="8" name="Group 7"/>
              <p:cNvGrpSpPr/>
              <p:nvPr/>
            </p:nvGrpSpPr>
            <p:grpSpPr>
              <a:xfrm>
                <a:off x="8818610" y="1360407"/>
                <a:ext cx="3390524" cy="4256583"/>
                <a:chOff x="8818610" y="1360407"/>
                <a:chExt cx="3390524" cy="4256583"/>
              </a:xfrm>
            </p:grpSpPr>
            <p:grpSp>
              <p:nvGrpSpPr>
                <p:cNvPr id="49" name="Group 48"/>
                <p:cNvGrpSpPr/>
                <p:nvPr/>
              </p:nvGrpSpPr>
              <p:grpSpPr>
                <a:xfrm>
                  <a:off x="9748732" y="4898578"/>
                  <a:ext cx="1476372" cy="718412"/>
                  <a:chOff x="10378107" y="4626534"/>
                  <a:chExt cx="969359" cy="446103"/>
                </a:xfrm>
                <a:solidFill>
                  <a:schemeClr val="accent1"/>
                </a:solidFill>
              </p:grpSpPr>
              <p:grpSp>
                <p:nvGrpSpPr>
                  <p:cNvPr id="84" name="Group 83"/>
                  <p:cNvGrpSpPr/>
                  <p:nvPr/>
                </p:nvGrpSpPr>
                <p:grpSpPr>
                  <a:xfrm>
                    <a:off x="10378107" y="4626534"/>
                    <a:ext cx="450224" cy="446102"/>
                    <a:chOff x="10864047" y="2068032"/>
                    <a:chExt cx="936757" cy="928179"/>
                  </a:xfrm>
                  <a:grpFill/>
                </p:grpSpPr>
                <p:sp>
                  <p:nvSpPr>
                    <p:cNvPr id="93" name="Oval 742"/>
                    <p:cNvSpPr>
                      <a:spLocks noChangeArrowheads="1"/>
                    </p:cNvSpPr>
                    <p:nvPr/>
                  </p:nvSpPr>
                  <p:spPr bwMode="auto">
                    <a:xfrm>
                      <a:off x="11480295" y="2068032"/>
                      <a:ext cx="239438" cy="208835"/>
                    </a:xfrm>
                    <a:prstGeom prst="ellipse">
                      <a:avLst/>
                    </a:prstGeom>
                    <a:grpFill/>
                    <a:ln>
                      <a:solidFill>
                        <a:schemeClr val="accent1"/>
                      </a:solidFill>
                    </a:ln>
                    <a:extLst/>
                  </p:spPr>
                  <p:txBody>
                    <a:bodyPr vert="horz" wrap="square" lIns="89630" tIns="44814" rIns="89630" bIns="44814" numCol="1" anchor="t" anchorCtr="0" compatLnSpc="1">
                      <a:prstTxWarp prst="textNoShape">
                        <a:avLst/>
                      </a:prstTxWarp>
                    </a:bodyPr>
                    <a:lstStyle/>
                    <a:p>
                      <a:pPr defTabSz="896178"/>
                      <a:endParaRPr lang="en-US" sz="1765">
                        <a:solidFill>
                          <a:srgbClr val="FFFFFF"/>
                        </a:solidFill>
                      </a:endParaRPr>
                    </a:p>
                  </p:txBody>
                </p:sp>
                <p:sp>
                  <p:nvSpPr>
                    <p:cNvPr id="94" name="Freeform 741"/>
                    <p:cNvSpPr>
                      <a:spLocks/>
                    </p:cNvSpPr>
                    <p:nvPr/>
                  </p:nvSpPr>
                  <p:spPr bwMode="auto">
                    <a:xfrm>
                      <a:off x="11399226" y="2299550"/>
                      <a:ext cx="401578" cy="69666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89630" tIns="44814" rIns="89630" bIns="44814" numCol="1" anchor="t" anchorCtr="0" compatLnSpc="1">
                      <a:prstTxWarp prst="textNoShape">
                        <a:avLst/>
                      </a:prstTxWarp>
                    </a:bodyPr>
                    <a:lstStyle/>
                    <a:p>
                      <a:pPr defTabSz="896178"/>
                      <a:endParaRPr lang="en-US" sz="1765">
                        <a:solidFill>
                          <a:srgbClr val="FFFFFF"/>
                        </a:solidFill>
                      </a:endParaRPr>
                    </a:p>
                  </p:txBody>
                </p:sp>
                <p:sp>
                  <p:nvSpPr>
                    <p:cNvPr id="95" name="Freeform 12"/>
                    <p:cNvSpPr>
                      <a:spLocks noEditPoints="1"/>
                    </p:cNvSpPr>
                    <p:nvPr/>
                  </p:nvSpPr>
                  <p:spPr bwMode="auto">
                    <a:xfrm>
                      <a:off x="10864047" y="2418948"/>
                      <a:ext cx="514619"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grpSp>
              <p:grpSp>
                <p:nvGrpSpPr>
                  <p:cNvPr id="85" name="Group 84"/>
                  <p:cNvGrpSpPr/>
                  <p:nvPr/>
                </p:nvGrpSpPr>
                <p:grpSpPr>
                  <a:xfrm>
                    <a:off x="10897243" y="4626534"/>
                    <a:ext cx="450223" cy="446103"/>
                    <a:chOff x="10864049" y="2068034"/>
                    <a:chExt cx="936755" cy="928182"/>
                  </a:xfrm>
                  <a:grpFill/>
                </p:grpSpPr>
                <p:sp>
                  <p:nvSpPr>
                    <p:cNvPr id="90" name="Oval 742"/>
                    <p:cNvSpPr>
                      <a:spLocks noChangeArrowheads="1"/>
                    </p:cNvSpPr>
                    <p:nvPr/>
                  </p:nvSpPr>
                  <p:spPr bwMode="auto">
                    <a:xfrm>
                      <a:off x="11480295" y="2068034"/>
                      <a:ext cx="239439" cy="208835"/>
                    </a:xfrm>
                    <a:prstGeom prst="ellipse">
                      <a:avLst/>
                    </a:prstGeom>
                    <a:grpFill/>
                    <a:ln>
                      <a:solidFill>
                        <a:schemeClr val="accent1"/>
                      </a:solidFill>
                    </a:ln>
                    <a:extLst/>
                  </p:spPr>
                  <p:txBody>
                    <a:bodyPr vert="horz" wrap="square" lIns="89630" tIns="44814" rIns="89630" bIns="44814" numCol="1" anchor="t" anchorCtr="0" compatLnSpc="1">
                      <a:prstTxWarp prst="textNoShape">
                        <a:avLst/>
                      </a:prstTxWarp>
                    </a:bodyPr>
                    <a:lstStyle/>
                    <a:p>
                      <a:pPr defTabSz="896178"/>
                      <a:endParaRPr lang="en-US" sz="1765">
                        <a:solidFill>
                          <a:srgbClr val="FFFFFF"/>
                        </a:solidFill>
                      </a:endParaRPr>
                    </a:p>
                  </p:txBody>
                </p:sp>
                <p:sp>
                  <p:nvSpPr>
                    <p:cNvPr id="91" name="Freeform 741"/>
                    <p:cNvSpPr>
                      <a:spLocks/>
                    </p:cNvSpPr>
                    <p:nvPr/>
                  </p:nvSpPr>
                  <p:spPr bwMode="auto">
                    <a:xfrm>
                      <a:off x="11399226" y="2299554"/>
                      <a:ext cx="401578" cy="696662"/>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89630" tIns="44814" rIns="89630" bIns="44814" numCol="1" anchor="t" anchorCtr="0" compatLnSpc="1">
                      <a:prstTxWarp prst="textNoShape">
                        <a:avLst/>
                      </a:prstTxWarp>
                    </a:bodyPr>
                    <a:lstStyle/>
                    <a:p>
                      <a:pPr defTabSz="896178"/>
                      <a:endParaRPr lang="en-US" sz="1765">
                        <a:solidFill>
                          <a:srgbClr val="FFFFFF"/>
                        </a:solidFill>
                      </a:endParaRPr>
                    </a:p>
                  </p:txBody>
                </p:sp>
                <p:sp>
                  <p:nvSpPr>
                    <p:cNvPr id="92" name="Freeform 12"/>
                    <p:cNvSpPr>
                      <a:spLocks noEditPoints="1"/>
                    </p:cNvSpPr>
                    <p:nvPr/>
                  </p:nvSpPr>
                  <p:spPr bwMode="auto">
                    <a:xfrm>
                      <a:off x="10864049" y="2418948"/>
                      <a:ext cx="514619"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grpSp>
            </p:grpSp>
            <p:sp>
              <p:nvSpPr>
                <p:cNvPr id="51" name="Rectangle 50"/>
                <p:cNvSpPr/>
                <p:nvPr/>
              </p:nvSpPr>
              <p:spPr>
                <a:xfrm flipH="1">
                  <a:off x="10025012" y="3977204"/>
                  <a:ext cx="1305877" cy="216564"/>
                </a:xfrm>
                <a:prstGeom prst="rect">
                  <a:avLst/>
                </a:prstGeom>
                <a:noFill/>
                <a:ln>
                  <a:noFill/>
                </a:ln>
              </p:spPr>
              <p:txBody>
                <a:bodyPr wrap="square">
                  <a:spAutoFit/>
                </a:bodyPr>
                <a:lstStyle/>
                <a:p>
                  <a:pPr algn="ctr" defTabSz="914133" fontAlgn="base">
                    <a:lnSpc>
                      <a:spcPct val="80000"/>
                    </a:lnSpc>
                    <a:spcBef>
                      <a:spcPct val="0"/>
                    </a:spcBef>
                    <a:spcAft>
                      <a:spcPct val="0"/>
                    </a:spcAft>
                  </a:pPr>
                  <a:r>
                    <a:rPr lang="en-US" sz="1372" kern="0" dirty="0">
                      <a:gradFill>
                        <a:gsLst>
                          <a:gs pos="2917">
                            <a:srgbClr val="00188F"/>
                          </a:gs>
                          <a:gs pos="30000">
                            <a:srgbClr val="00188F"/>
                          </a:gs>
                        </a:gsLst>
                        <a:lin ang="5400000" scaled="0"/>
                      </a:gradFill>
                    </a:rPr>
                    <a:t>Internet</a:t>
                  </a:r>
                </a:p>
              </p:txBody>
            </p:sp>
            <p:cxnSp>
              <p:nvCxnSpPr>
                <p:cNvPr id="52" name="Straight Connector 51"/>
                <p:cNvCxnSpPr/>
                <p:nvPr/>
              </p:nvCxnSpPr>
              <p:spPr>
                <a:xfrm>
                  <a:off x="10280024"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070686"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chemeClr val="accent1"/>
                  </a:solidFill>
                </a:ln>
                <a:extLst/>
              </p:spPr>
              <p:txBody>
                <a:bodyPr vert="horz" wrap="square" lIns="89630" tIns="179259" rIns="448149" bIns="44814" numCol="1" anchor="t" anchorCtr="0" compatLnSpc="1">
                  <a:prstTxWarp prst="textNoShape">
                    <a:avLst/>
                  </a:prstTxWarp>
                </a:bodyPr>
                <a:lstStyle/>
                <a:p>
                  <a:pPr algn="ctr" defTabSz="914133" fontAlgn="base">
                    <a:lnSpc>
                      <a:spcPct val="90000"/>
                    </a:lnSpc>
                    <a:spcBef>
                      <a:spcPct val="0"/>
                    </a:spcBef>
                    <a:spcAft>
                      <a:spcPct val="0"/>
                    </a:spcAft>
                  </a:pPr>
                  <a:endParaRPr lang="en-US" sz="1765" spc="-49" dirty="0">
                    <a:gradFill>
                      <a:gsLst>
                        <a:gs pos="2917">
                          <a:srgbClr val="EFEFEF"/>
                        </a:gs>
                        <a:gs pos="30000">
                          <a:srgbClr val="EFEFEF"/>
                        </a:gs>
                      </a:gsLst>
                      <a:lin ang="5400000" scaled="0"/>
                    </a:gradFill>
                    <a:latin typeface="Segoe UI Light"/>
                  </a:endParaRPr>
                </a:p>
              </p:txBody>
            </p:sp>
            <p:sp>
              <p:nvSpPr>
                <p:cNvPr id="72" name="Freeform 24"/>
                <p:cNvSpPr>
                  <a:spLocks noEditPoints="1"/>
                </p:cNvSpPr>
                <p:nvPr/>
              </p:nvSpPr>
              <p:spPr bwMode="black">
                <a:xfrm>
                  <a:off x="10082186" y="2613539"/>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sp>
              <p:nvSpPr>
                <p:cNvPr id="74" name="Freeform 24"/>
                <p:cNvSpPr>
                  <a:spLocks noEditPoints="1"/>
                </p:cNvSpPr>
                <p:nvPr/>
              </p:nvSpPr>
              <p:spPr bwMode="black">
                <a:xfrm>
                  <a:off x="9603101" y="1987556"/>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sp>
              <p:nvSpPr>
                <p:cNvPr id="81" name="Freeform 24"/>
                <p:cNvSpPr>
                  <a:spLocks noEditPoints="1"/>
                </p:cNvSpPr>
                <p:nvPr/>
              </p:nvSpPr>
              <p:spPr bwMode="black">
                <a:xfrm>
                  <a:off x="9072559" y="2547394"/>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sp>
              <p:nvSpPr>
                <p:cNvPr id="77" name="TextBox 76"/>
                <p:cNvSpPr txBox="1"/>
                <p:nvPr/>
              </p:nvSpPr>
              <p:spPr>
                <a:xfrm>
                  <a:off x="9803545" y="2039712"/>
                  <a:ext cx="884587" cy="493442"/>
                </a:xfrm>
                <a:prstGeom prst="rect">
                  <a:avLst/>
                </a:prstGeom>
                <a:noFill/>
                <a:ln>
                  <a:noFill/>
                </a:ln>
              </p:spPr>
              <p:txBody>
                <a:bodyPr wrap="square" lIns="179259" tIns="143407" rIns="179259" bIns="143407" rtlCol="0">
                  <a:spAutoFit/>
                </a:bodyPr>
                <a:lstStyle/>
                <a:p>
                  <a:pPr defTabSz="914133"/>
                  <a:r>
                    <a:rPr lang="en-US" sz="980" dirty="0">
                      <a:solidFill>
                        <a:srgbClr val="00188F"/>
                      </a:solidFill>
                      <a:ea typeface="Segoe UI" panose="020B0502040204020203" pitchFamily="34" charset="0"/>
                      <a:cs typeface="Segoe UI" panose="020B0502040204020203" pitchFamily="34" charset="0"/>
                    </a:rPr>
                    <a:t>Active Directory</a:t>
                  </a:r>
                </a:p>
              </p:txBody>
            </p:sp>
            <p:sp>
              <p:nvSpPr>
                <p:cNvPr id="79" name="TextBox 78"/>
                <p:cNvSpPr txBox="1"/>
                <p:nvPr/>
              </p:nvSpPr>
              <p:spPr>
                <a:xfrm>
                  <a:off x="9110914" y="2650948"/>
                  <a:ext cx="1033384" cy="365103"/>
                </a:xfrm>
                <a:prstGeom prst="rect">
                  <a:avLst/>
                </a:prstGeom>
                <a:noFill/>
                <a:ln>
                  <a:noFill/>
                </a:ln>
              </p:spPr>
              <p:txBody>
                <a:bodyPr wrap="square" lIns="179259" tIns="143407" rIns="179259" bIns="143407" rtlCol="0">
                  <a:spAutoFit/>
                </a:bodyPr>
                <a:lstStyle/>
                <a:p>
                  <a:pPr defTabSz="914133"/>
                  <a:r>
                    <a:rPr lang="en-US" sz="980" dirty="0">
                      <a:solidFill>
                        <a:srgbClr val="00188F"/>
                      </a:solidFill>
                      <a:ea typeface="Segoe UI" panose="020B0502040204020203" pitchFamily="34" charset="0"/>
                      <a:cs typeface="Segoe UI" panose="020B0502040204020203" pitchFamily="34" charset="0"/>
                    </a:rPr>
                    <a:t>SharePoint</a:t>
                  </a:r>
                </a:p>
              </p:txBody>
            </p:sp>
            <p:sp>
              <p:nvSpPr>
                <p:cNvPr id="80" name="TextBox 79"/>
                <p:cNvSpPr txBox="1"/>
                <p:nvPr/>
              </p:nvSpPr>
              <p:spPr>
                <a:xfrm>
                  <a:off x="10291098" y="2665338"/>
                  <a:ext cx="743641" cy="493442"/>
                </a:xfrm>
                <a:prstGeom prst="rect">
                  <a:avLst/>
                </a:prstGeom>
                <a:noFill/>
                <a:ln>
                  <a:noFill/>
                </a:ln>
              </p:spPr>
              <p:txBody>
                <a:bodyPr wrap="square" lIns="179259" tIns="143407" rIns="179259" bIns="143407" rtlCol="0">
                  <a:spAutoFit/>
                </a:bodyPr>
                <a:lstStyle/>
                <a:p>
                  <a:pPr defTabSz="914133"/>
                  <a:r>
                    <a:rPr lang="en-US" sz="980" dirty="0">
                      <a:solidFill>
                        <a:srgbClr val="00188F"/>
                      </a:solidFill>
                      <a:ea typeface="Segoe UI" panose="020B0502040204020203" pitchFamily="34" charset="0"/>
                      <a:cs typeface="Segoe UI" panose="020B0502040204020203" pitchFamily="34" charset="0"/>
                    </a:rPr>
                    <a:t>SQL </a:t>
                  </a:r>
                  <a:br>
                    <a:rPr lang="en-US" sz="980" dirty="0">
                      <a:solidFill>
                        <a:srgbClr val="00188F"/>
                      </a:solidFill>
                      <a:ea typeface="Segoe UI" panose="020B0502040204020203" pitchFamily="34" charset="0"/>
                      <a:cs typeface="Segoe UI" panose="020B0502040204020203" pitchFamily="34" charset="0"/>
                    </a:rPr>
                  </a:br>
                  <a:r>
                    <a:rPr lang="en-US" sz="980" dirty="0">
                      <a:solidFill>
                        <a:srgbClr val="00188F"/>
                      </a:solidFill>
                      <a:ea typeface="Segoe UI" panose="020B0502040204020203" pitchFamily="34" charset="0"/>
                      <a:cs typeface="Segoe UI" panose="020B0502040204020203" pitchFamily="34" charset="0"/>
                    </a:rPr>
                    <a:t>Server</a:t>
                  </a:r>
                </a:p>
              </p:txBody>
            </p:sp>
          </p:grpSp>
          <p:sp>
            <p:nvSpPr>
              <p:cNvPr id="101" name="TextBox 100"/>
              <p:cNvSpPr txBox="1"/>
              <p:nvPr/>
            </p:nvSpPr>
            <p:spPr>
              <a:xfrm>
                <a:off x="9784293" y="1423361"/>
                <a:ext cx="1189912" cy="559003"/>
              </a:xfrm>
              <a:prstGeom prst="rect">
                <a:avLst/>
              </a:prstGeom>
              <a:noFill/>
            </p:spPr>
            <p:txBody>
              <a:bodyPr wrap="square" lIns="179259" tIns="143407" rIns="179259" bIns="143407" rtlCol="0">
                <a:spAutoFit/>
              </a:bodyPr>
              <a:lstStyle/>
              <a:p>
                <a:pPr defTabSz="914133">
                  <a:lnSpc>
                    <a:spcPct val="90000"/>
                  </a:lnSpc>
                </a:pPr>
                <a:r>
                  <a:rPr lang="en-US" sz="1372" kern="0" dirty="0">
                    <a:gradFill>
                      <a:gsLst>
                        <a:gs pos="2917">
                          <a:srgbClr val="00188F"/>
                        </a:gs>
                        <a:gs pos="30000">
                          <a:srgbClr val="00188F"/>
                        </a:gs>
                      </a:gsLst>
                      <a:lin ang="5400000" scaled="0"/>
                    </a:gradFill>
                  </a:rPr>
                  <a:t>Windows Azure</a:t>
                </a:r>
              </a:p>
            </p:txBody>
          </p:sp>
        </p:grpSp>
        <p:sp>
          <p:nvSpPr>
            <p:cNvPr id="111" name="Freeform 24"/>
            <p:cNvSpPr>
              <a:spLocks noEditPoints="1"/>
            </p:cNvSpPr>
            <p:nvPr/>
          </p:nvSpPr>
          <p:spPr bwMode="black">
            <a:xfrm>
              <a:off x="10749278" y="1791636"/>
              <a:ext cx="1073782" cy="8077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sp>
          <p:nvSpPr>
            <p:cNvPr id="113" name="Freeform 24"/>
            <p:cNvSpPr>
              <a:spLocks noEditPoints="1"/>
            </p:cNvSpPr>
            <p:nvPr/>
          </p:nvSpPr>
          <p:spPr bwMode="black">
            <a:xfrm>
              <a:off x="11136818" y="2440515"/>
              <a:ext cx="1082421" cy="75975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30" tIns="44814" rIns="89630" bIns="44814" numCol="1" anchor="t" anchorCtr="0" compatLnSpc="1">
              <a:prstTxWarp prst="textNoShape">
                <a:avLst/>
              </a:prstTxWarp>
            </a:bodyPr>
            <a:lstStyle/>
            <a:p>
              <a:pPr defTabSz="914133"/>
              <a:endParaRPr lang="en-US" sz="1765">
                <a:solidFill>
                  <a:srgbClr val="505050"/>
                </a:solidFill>
              </a:endParaRPr>
            </a:p>
          </p:txBody>
        </p:sp>
        <p:sp>
          <p:nvSpPr>
            <p:cNvPr id="115" name="Freeform 6"/>
            <p:cNvSpPr>
              <a:spLocks noEditPoints="1"/>
            </p:cNvSpPr>
            <p:nvPr/>
          </p:nvSpPr>
          <p:spPr bwMode="auto">
            <a:xfrm>
              <a:off x="11095198" y="1809109"/>
              <a:ext cx="470573" cy="44118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895919"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pic>
          <p:nvPicPr>
            <p:cNvPr id="116" name="Picture 11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434751" y="2405590"/>
              <a:ext cx="536837" cy="562185"/>
            </a:xfrm>
            <a:prstGeom prst="rect">
              <a:avLst/>
            </a:prstGeom>
          </p:spPr>
        </p:pic>
      </p:grpSp>
    </p:spTree>
    <p:extLst>
      <p:ext uri="{BB962C8B-B14F-4D97-AF65-F5344CB8AC3E}">
        <p14:creationId xmlns:p14="http://schemas.microsoft.com/office/powerpoint/2010/main" val="193181712"/>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2437" y="1486031"/>
            <a:ext cx="7003500" cy="737577"/>
          </a:xfrm>
          <a:prstGeom prst="rect">
            <a:avLst/>
          </a:prstGeom>
          <a:noFill/>
        </p:spPr>
        <p:txBody>
          <a:bodyPr wrap="square" lIns="179259" tIns="143407" rIns="179259" bIns="143407" rtlCol="0">
            <a:noAutofit/>
          </a:bodyPr>
          <a:lstStyle/>
          <a:p>
            <a:pPr defTabSz="914133">
              <a:spcBef>
                <a:spcPct val="20000"/>
              </a:spcBef>
              <a:spcAft>
                <a:spcPts val="1175"/>
              </a:spcAft>
              <a:buSzPct val="80000"/>
            </a:pPr>
            <a:r>
              <a:rPr lang="en-US" sz="3137" spc="-49" dirty="0">
                <a:gradFill>
                  <a:gsLst>
                    <a:gs pos="2917">
                      <a:srgbClr val="00188F"/>
                    </a:gs>
                    <a:gs pos="30000">
                      <a:srgbClr val="00188F"/>
                    </a:gs>
                  </a:gsLst>
                  <a:lin ang="5400000" scaled="0"/>
                </a:gradFill>
                <a:latin typeface="Segoe UI Light"/>
              </a:rPr>
              <a:t>Windows Azure Infrastructure Services</a:t>
            </a:r>
          </a:p>
        </p:txBody>
      </p:sp>
      <p:sp>
        <p:nvSpPr>
          <p:cNvPr id="3" name="Freeform 128"/>
          <p:cNvSpPr>
            <a:spLocks noChangeAspect="1"/>
          </p:cNvSpPr>
          <p:nvPr/>
        </p:nvSpPr>
        <p:spPr bwMode="black">
          <a:xfrm>
            <a:off x="4979562" y="1854631"/>
            <a:ext cx="6441595" cy="354715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nvGrpSpPr>
          <p:cNvPr id="39" name="Group 38"/>
          <p:cNvGrpSpPr/>
          <p:nvPr/>
        </p:nvGrpSpPr>
        <p:grpSpPr>
          <a:xfrm>
            <a:off x="6612889" y="2863604"/>
            <a:ext cx="4632378" cy="2265278"/>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091" fontAlgn="base">
                <a:lnSpc>
                  <a:spcPct val="90000"/>
                </a:lnSpc>
                <a:spcBef>
                  <a:spcPct val="0"/>
                </a:spcBef>
                <a:spcAft>
                  <a:spcPct val="0"/>
                </a:spcAft>
              </a:pPr>
              <a:endParaRPr lang="en-US" sz="2353" spc="-49" dirty="0">
                <a:gradFill>
                  <a:gsLst>
                    <a:gs pos="36283">
                      <a:srgbClr val="505050"/>
                    </a:gs>
                    <a:gs pos="28000">
                      <a:srgbClr val="505050"/>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defTabSz="914133">
                <a:lnSpc>
                  <a:spcPct val="90000"/>
                </a:lnSpc>
              </a:pPr>
              <a:r>
                <a:rPr lang="en-US" sz="1568" spc="-49" dirty="0">
                  <a:gradFill>
                    <a:gsLst>
                      <a:gs pos="2917">
                        <a:srgbClr val="505050"/>
                      </a:gs>
                      <a:gs pos="30000">
                        <a:srgbClr val="505050"/>
                      </a:gs>
                    </a:gsLst>
                    <a:lin ang="5400000" scaled="0"/>
                  </a:gradFill>
                </a:rPr>
                <a:t>Virtual Network</a:t>
              </a:r>
            </a:p>
          </p:txBody>
        </p:sp>
      </p:grpSp>
      <p:grpSp>
        <p:nvGrpSpPr>
          <p:cNvPr id="38" name="Group 37"/>
          <p:cNvGrpSpPr/>
          <p:nvPr/>
        </p:nvGrpSpPr>
        <p:grpSpPr>
          <a:xfrm>
            <a:off x="6745773" y="3001235"/>
            <a:ext cx="3372379" cy="1818189"/>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defTabSz="914133">
                <a:lnSpc>
                  <a:spcPct val="90000"/>
                </a:lnSpc>
              </a:pPr>
              <a:r>
                <a:rPr lang="en-US" sz="1176" spc="-49" dirty="0">
                  <a:gradFill>
                    <a:gsLst>
                      <a:gs pos="2917">
                        <a:srgbClr val="505050"/>
                      </a:gs>
                      <a:gs pos="30000">
                        <a:srgbClr val="505050"/>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defTabSz="914133">
                <a:lnSpc>
                  <a:spcPct val="90000"/>
                </a:lnSpc>
              </a:pPr>
              <a:r>
                <a:rPr lang="en-US" sz="1176" spc="-49" dirty="0">
                  <a:gradFill>
                    <a:gsLst>
                      <a:gs pos="2917">
                        <a:srgbClr val="505050"/>
                      </a:gs>
                      <a:gs pos="30000">
                        <a:srgbClr val="505050"/>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defTabSz="914133">
                <a:lnSpc>
                  <a:spcPct val="90000"/>
                </a:lnSpc>
              </a:pPr>
              <a:r>
                <a:rPr lang="en-US" sz="1176" spc="-49" dirty="0">
                  <a:gradFill>
                    <a:gsLst>
                      <a:gs pos="2917">
                        <a:srgbClr val="505050"/>
                      </a:gs>
                      <a:gs pos="30000">
                        <a:srgbClr val="505050"/>
                      </a:gs>
                    </a:gsLst>
                    <a:lin ang="5400000" scaled="0"/>
                  </a:gradFill>
                </a:rPr>
                <a:t>&lt;subnet 3&gt;</a:t>
              </a:r>
            </a:p>
          </p:txBody>
        </p:sp>
      </p:grpSp>
      <p:sp>
        <p:nvSpPr>
          <p:cNvPr id="2" name="Title 1"/>
          <p:cNvSpPr>
            <a:spLocks noGrp="1"/>
          </p:cNvSpPr>
          <p:nvPr>
            <p:ph type="title"/>
          </p:nvPr>
        </p:nvSpPr>
        <p:spPr>
          <a:xfrm>
            <a:off x="269240" y="286827"/>
            <a:ext cx="11151917" cy="927809"/>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821007" y="3285397"/>
            <a:ext cx="923271" cy="1421692"/>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nvGrpSpPr>
          <p:cNvPr id="21" name="Group 20"/>
          <p:cNvGrpSpPr/>
          <p:nvPr/>
        </p:nvGrpSpPr>
        <p:grpSpPr>
          <a:xfrm>
            <a:off x="9119646" y="3285397"/>
            <a:ext cx="923271" cy="1421692"/>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nvGrpSpPr>
          <p:cNvPr id="22" name="Group 21"/>
          <p:cNvGrpSpPr/>
          <p:nvPr/>
        </p:nvGrpSpPr>
        <p:grpSpPr>
          <a:xfrm>
            <a:off x="7970327" y="3285397"/>
            <a:ext cx="923271" cy="1421692"/>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nvGrpSpPr>
          <p:cNvPr id="40" name="Group 39"/>
          <p:cNvGrpSpPr/>
          <p:nvPr/>
        </p:nvGrpSpPr>
        <p:grpSpPr>
          <a:xfrm>
            <a:off x="10191441" y="3591104"/>
            <a:ext cx="923271" cy="601915"/>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defTabSz="914133">
                <a:lnSpc>
                  <a:spcPct val="90000"/>
                </a:lnSpc>
              </a:pPr>
              <a:r>
                <a:rPr lang="en-US" sz="1176" spc="-49" dirty="0">
                  <a:gradFill>
                    <a:gsLst>
                      <a:gs pos="2917">
                        <a:srgbClr val="505050"/>
                      </a:gs>
                      <a:gs pos="30000">
                        <a:srgbClr val="505050"/>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a:gradFill>
                  <a:gsLst>
                    <a:gs pos="1250">
                      <a:srgbClr val="EFEFEF"/>
                    </a:gs>
                    <a:gs pos="10417">
                      <a:srgbClr val="EFEFEF"/>
                    </a:gs>
                  </a:gsLst>
                  <a:lin ang="5400000" scaled="0"/>
                </a:gradFill>
              </a:endParaRPr>
            </a:p>
          </p:txBody>
        </p:sp>
      </p:grpSp>
      <p:sp>
        <p:nvSpPr>
          <p:cNvPr id="36" name="TextBox 35"/>
          <p:cNvSpPr txBox="1"/>
          <p:nvPr/>
        </p:nvSpPr>
        <p:spPr>
          <a:xfrm>
            <a:off x="262599" y="2446958"/>
            <a:ext cx="5586642" cy="1950907"/>
          </a:xfrm>
          <a:prstGeom prst="rect">
            <a:avLst/>
          </a:prstGeom>
          <a:noFill/>
        </p:spPr>
        <p:txBody>
          <a:bodyPr wrap="square" lIns="179285" tIns="143428" rIns="179285" bIns="143428" rtlCol="0">
            <a:noAutofit/>
          </a:bodyPr>
          <a:lstStyle/>
          <a:p>
            <a:pPr defTabSz="914133">
              <a:lnSpc>
                <a:spcPct val="90000"/>
              </a:lnSpc>
              <a:spcBef>
                <a:spcPct val="20000"/>
              </a:spcBef>
              <a:spcAft>
                <a:spcPts val="1176"/>
              </a:spcAft>
              <a:buSzPct val="80000"/>
            </a:pPr>
            <a:r>
              <a:rPr lang="en-US" sz="2353" dirty="0">
                <a:gradFill>
                  <a:gsLst>
                    <a:gs pos="0">
                      <a:srgbClr val="00188F"/>
                    </a:gs>
                    <a:gs pos="100000">
                      <a:srgbClr val="00188F"/>
                    </a:gs>
                  </a:gsLst>
                  <a:lin ang="5400000" scaled="1"/>
                </a:gradFill>
              </a:rPr>
              <a:t>Windows Azure Virtual Network</a:t>
            </a:r>
          </a:p>
          <a:p>
            <a:pPr defTabSz="914133">
              <a:spcAft>
                <a:spcPts val="588"/>
              </a:spcAft>
            </a:pPr>
            <a:r>
              <a:rPr lang="en-US" sz="1961" spc="-49" dirty="0">
                <a:gradFill>
                  <a:gsLst>
                    <a:gs pos="0">
                      <a:srgbClr val="505050"/>
                    </a:gs>
                    <a:gs pos="100000">
                      <a:srgbClr val="505050"/>
                    </a:gs>
                  </a:gsLst>
                  <a:lin ang="0" scaled="0"/>
                </a:gradFill>
              </a:rPr>
              <a:t>Logical isolation with control over network</a:t>
            </a:r>
          </a:p>
          <a:p>
            <a:pPr defTabSz="914133">
              <a:spcAft>
                <a:spcPts val="588"/>
              </a:spcAft>
            </a:pPr>
            <a:r>
              <a:rPr lang="en-US" sz="1961" spc="-49" dirty="0">
                <a:gradFill>
                  <a:gsLst>
                    <a:gs pos="0">
                      <a:srgbClr val="505050"/>
                    </a:gs>
                    <a:gs pos="100000">
                      <a:srgbClr val="505050"/>
                    </a:gs>
                  </a:gsLst>
                  <a:lin ang="0" scaled="0"/>
                </a:gradFill>
              </a:rPr>
              <a:t>Create Subnets, Private IP addresses</a:t>
            </a:r>
          </a:p>
          <a:p>
            <a:pPr defTabSz="914133">
              <a:spcAft>
                <a:spcPts val="588"/>
              </a:spcAft>
            </a:pPr>
            <a:r>
              <a:rPr lang="en-US" sz="1961" spc="-49" dirty="0">
                <a:gradFill>
                  <a:gsLst>
                    <a:gs pos="0">
                      <a:srgbClr val="505050"/>
                    </a:gs>
                    <a:gs pos="100000">
                      <a:srgbClr val="505050"/>
                    </a:gs>
                  </a:gsLst>
                  <a:lin ang="0" scaled="0"/>
                </a:gradFill>
              </a:rPr>
              <a:t>Bring your own DNS</a:t>
            </a:r>
          </a:p>
        </p:txBody>
      </p:sp>
    </p:spTree>
    <p:extLst>
      <p:ext uri="{BB962C8B-B14F-4D97-AF65-F5344CB8AC3E}">
        <p14:creationId xmlns:p14="http://schemas.microsoft.com/office/powerpoint/2010/main" val="366617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600"/>
                                        <p:tgtEl>
                                          <p:spTgt spid="3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250" fill="hold"/>
                                        <p:tgtEl>
                                          <p:spTgt spid="3"/>
                                        </p:tgtEl>
                                        <p:attrNameLst>
                                          <p:attrName>ppt_w</p:attrName>
                                        </p:attrNameLst>
                                      </p:cBhvr>
                                      <p:tavLst>
                                        <p:tav tm="0">
                                          <p:val>
                                            <p:fltVal val="0"/>
                                          </p:val>
                                        </p:tav>
                                        <p:tav tm="100000">
                                          <p:val>
                                            <p:strVal val="#ppt_w"/>
                                          </p:val>
                                        </p:tav>
                                      </p:tavLst>
                                    </p:anim>
                                    <p:anim calcmode="lin" valueType="num">
                                      <p:cBhvr>
                                        <p:cTn id="11" dur="250" fill="hold"/>
                                        <p:tgtEl>
                                          <p:spTgt spid="3"/>
                                        </p:tgtEl>
                                        <p:attrNameLst>
                                          <p:attrName>ppt_h</p:attrName>
                                        </p:attrNameLst>
                                      </p:cBhvr>
                                      <p:tavLst>
                                        <p:tav tm="0">
                                          <p:val>
                                            <p:fltVal val="0"/>
                                          </p:val>
                                        </p:tav>
                                        <p:tav tm="100000">
                                          <p:val>
                                            <p:strVal val="#ppt_h"/>
                                          </p:val>
                                        </p:tav>
                                      </p:tavLst>
                                    </p:anim>
                                    <p:animEffect transition="in" filter="fade">
                                      <p:cBhvr>
                                        <p:cTn id="12" dur="250"/>
                                        <p:tgtEl>
                                          <p:spTgt spid="3"/>
                                        </p:tgtEl>
                                      </p:cBhvr>
                                    </p:animEffect>
                                  </p:childTnLst>
                                </p:cTn>
                              </p:par>
                              <p:par>
                                <p:cTn id="13" presetID="6" presetClass="emph" presetSubtype="0" decel="100000" fill="hold" grpId="1" nodeType="withEffect">
                                  <p:stCondLst>
                                    <p:cond delay="200"/>
                                  </p:stCondLst>
                                  <p:childTnLst>
                                    <p:animScale>
                                      <p:cBhvr>
                                        <p:cTn id="14" dur="250" fill="hold"/>
                                        <p:tgtEl>
                                          <p:spTgt spid="3"/>
                                        </p:tgtEl>
                                      </p:cBhvr>
                                      <p:by x="110000" y="110000"/>
                                    </p:animScale>
                                  </p:childTnLst>
                                </p:cTn>
                              </p:par>
                              <p:par>
                                <p:cTn id="15" presetID="6" presetClass="emph" presetSubtype="0" decel="100000" fill="hold" grpId="2" nodeType="withEffect">
                                  <p:stCondLst>
                                    <p:cond delay="300"/>
                                  </p:stCondLst>
                                  <p:childTnLst>
                                    <p:animScale>
                                      <p:cBhvr>
                                        <p:cTn id="16" dur="250" fill="hold"/>
                                        <p:tgtEl>
                                          <p:spTgt spid="3"/>
                                        </p:tgtEl>
                                      </p:cBhvr>
                                      <p:by x="91000" y="91000"/>
                                    </p:animScale>
                                  </p:childTnLst>
                                </p:cTn>
                              </p:par>
                            </p:childTnLst>
                          </p:cTn>
                        </p:par>
                        <p:par>
                          <p:cTn id="17" fill="hold">
                            <p:stCondLst>
                              <p:cond delay="800"/>
                            </p:stCondLst>
                            <p:childTnLst>
                              <p:par>
                                <p:cTn id="18" presetID="10" presetClass="entr" presetSubtype="0" fill="hold" nodeType="afterEffect">
                                  <p:stCondLst>
                                    <p:cond delay="0"/>
                                  </p:stCondLst>
                                  <p:childTnLst>
                                    <p:set>
                                      <p:cBhvr>
                                        <p:cTn id="19" dur="1" fill="hold">
                                          <p:stCondLst>
                                            <p:cond delay="0"/>
                                          </p:stCondLst>
                                        </p:cTn>
                                        <p:tgtEl>
                                          <p:spTgt spid="39"/>
                                        </p:tgtEl>
                                        <p:attrNameLst>
                                          <p:attrName>style.visibility</p:attrName>
                                        </p:attrNameLst>
                                      </p:cBhvr>
                                      <p:to>
                                        <p:strVal val="visible"/>
                                      </p:to>
                                    </p:set>
                                    <p:animEffect transition="in" filter="fade">
                                      <p:cBhvr>
                                        <p:cTn id="20" dur="500"/>
                                        <p:tgtEl>
                                          <p:spTgt spid="39"/>
                                        </p:tgtEl>
                                      </p:cBhvr>
                                    </p:animEffect>
                                  </p:childTnLst>
                                </p:cTn>
                              </p:par>
                              <p:par>
                                <p:cTn id="21" presetID="10" presetClass="entr" presetSubtype="0" fill="hold" nodeType="withEffect">
                                  <p:stCondLst>
                                    <p:cond delay="25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7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8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9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95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78291" y="1851632"/>
            <a:ext cx="6442865" cy="3550150"/>
          </a:xfrm>
          <a:prstGeom prst="rect">
            <a:avLst/>
          </a:prstGeom>
        </p:spPr>
      </p:pic>
      <p:grpSp>
        <p:nvGrpSpPr>
          <p:cNvPr id="54" name="Group 53"/>
          <p:cNvGrpSpPr/>
          <p:nvPr/>
        </p:nvGrpSpPr>
        <p:grpSpPr>
          <a:xfrm>
            <a:off x="269241" y="4097346"/>
            <a:ext cx="5532620" cy="2465938"/>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091" fontAlgn="base">
                  <a:lnSpc>
                    <a:spcPct val="90000"/>
                  </a:lnSpc>
                  <a:spcBef>
                    <a:spcPct val="0"/>
                  </a:spcBef>
                  <a:spcAft>
                    <a:spcPct val="0"/>
                  </a:spcAft>
                </a:pPr>
                <a:endParaRPr lang="en-US" sz="2353" spc="-49" dirty="0">
                  <a:gradFill>
                    <a:gsLst>
                      <a:gs pos="36283">
                        <a:srgbClr val="505050"/>
                      </a:gs>
                      <a:gs pos="28000">
                        <a:srgbClr val="505050"/>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grpSp>
      <p:sp>
        <p:nvSpPr>
          <p:cNvPr id="2" name="Title 1"/>
          <p:cNvSpPr>
            <a:spLocks noGrp="1"/>
          </p:cNvSpPr>
          <p:nvPr>
            <p:ph type="title"/>
          </p:nvPr>
        </p:nvSpPr>
        <p:spPr/>
        <p:txBody>
          <a:bodyPr/>
          <a:lstStyle/>
          <a:p>
            <a:r>
              <a:rPr lang="en-US" dirty="0" smtClean="0"/>
              <a:t>Extend your </a:t>
            </a:r>
            <a:r>
              <a:rPr lang="en-US" dirty="0"/>
              <a:t>i</a:t>
            </a:r>
            <a:r>
              <a:rPr lang="en-US" dirty="0" smtClean="0"/>
              <a:t>nfrastructure</a:t>
            </a:r>
            <a:endParaRPr lang="en-US" dirty="0"/>
          </a:p>
        </p:txBody>
      </p:sp>
      <p:cxnSp>
        <p:nvCxnSpPr>
          <p:cNvPr id="10" name="Straight Arrow Connector 9"/>
          <p:cNvCxnSpPr/>
          <p:nvPr/>
        </p:nvCxnSpPr>
        <p:spPr>
          <a:xfrm>
            <a:off x="7741133" y="3874346"/>
            <a:ext cx="0" cy="1455968"/>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668020" y="5391595"/>
            <a:ext cx="207311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24051" y="5058923"/>
            <a:ext cx="1977612" cy="561211"/>
          </a:xfrm>
          <a:prstGeom prst="rect">
            <a:avLst/>
          </a:prstGeom>
          <a:noFill/>
        </p:spPr>
        <p:txBody>
          <a:bodyPr wrap="square" lIns="0" tIns="143428" rIns="0" bIns="143428"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14133"/>
            <a:r>
              <a:rPr lang="en-US" sz="1961" b="0" dirty="0">
                <a:gradFill>
                  <a:gsLst>
                    <a:gs pos="69027">
                      <a:srgbClr val="FFFFFF"/>
                    </a:gs>
                    <a:gs pos="56000">
                      <a:srgbClr val="FFFFFF"/>
                    </a:gs>
                  </a:gsLst>
                  <a:lin ang="5400000" scaled="0"/>
                </a:gradFill>
                <a:latin typeface="Segoe UI"/>
              </a:rPr>
              <a:t>On-premises</a:t>
            </a:r>
          </a:p>
        </p:txBody>
      </p:sp>
      <p:grpSp>
        <p:nvGrpSpPr>
          <p:cNvPr id="25" name="Group 24"/>
          <p:cNvGrpSpPr/>
          <p:nvPr/>
        </p:nvGrpSpPr>
        <p:grpSpPr>
          <a:xfrm>
            <a:off x="7272691" y="3275654"/>
            <a:ext cx="837285" cy="837287"/>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8" name="Rectangle 27"/>
            <p:cNvSpPr/>
            <p:nvPr/>
          </p:nvSpPr>
          <p:spPr>
            <a:xfrm>
              <a:off x="8599148" y="5617684"/>
              <a:ext cx="605814" cy="373767"/>
            </a:xfrm>
            <a:prstGeom prst="rect">
              <a:avLst/>
            </a:prstGeom>
          </p:spPr>
          <p:txBody>
            <a:bodyPr wrap="none">
              <a:spAutoFit/>
            </a:bodyPr>
            <a:lstStyle/>
            <a:p>
              <a:pPr algn="ctr" defTabSz="914133"/>
              <a:r>
                <a:rPr lang="en-US" sz="1372" b="1" spc="-49" dirty="0">
                  <a:gradFill>
                    <a:gsLst>
                      <a:gs pos="12389">
                        <a:srgbClr val="7FBA00"/>
                      </a:gs>
                      <a:gs pos="27000">
                        <a:srgbClr val="7FBA00"/>
                      </a:gs>
                    </a:gsLst>
                    <a:lin ang="5400000" scaled="1"/>
                  </a:gradFill>
                  <a:latin typeface="Segoe UI Light"/>
                </a:rPr>
                <a:t>VPN</a:t>
              </a:r>
            </a:p>
          </p:txBody>
        </p:sp>
      </p:grpSp>
      <p:sp>
        <p:nvSpPr>
          <p:cNvPr id="29" name="TextBox 28"/>
          <p:cNvSpPr txBox="1"/>
          <p:nvPr/>
        </p:nvSpPr>
        <p:spPr>
          <a:xfrm>
            <a:off x="271644" y="2077435"/>
            <a:ext cx="6108555" cy="1950907"/>
          </a:xfrm>
          <a:prstGeom prst="rect">
            <a:avLst/>
          </a:prstGeom>
          <a:noFill/>
        </p:spPr>
        <p:txBody>
          <a:bodyPr wrap="square" lIns="179285" tIns="143428" rIns="179285" bIns="143428" rtlCol="0">
            <a:noAutofit/>
          </a:bodyPr>
          <a:lstStyle/>
          <a:p>
            <a:pPr defTabSz="914133">
              <a:spcAft>
                <a:spcPts val="588"/>
              </a:spcAft>
            </a:pPr>
            <a:r>
              <a:rPr lang="en-US" sz="1961" spc="-49" dirty="0">
                <a:gradFill>
                  <a:gsLst>
                    <a:gs pos="0">
                      <a:srgbClr val="505050"/>
                    </a:gs>
                    <a:gs pos="100000">
                      <a:srgbClr val="505050"/>
                    </a:gs>
                  </a:gsLst>
                </a:gradFill>
              </a:rPr>
              <a:t>Virtual Network as your Datacenter extension</a:t>
            </a:r>
          </a:p>
          <a:p>
            <a:pPr defTabSz="914133">
              <a:spcAft>
                <a:spcPts val="588"/>
              </a:spcAft>
            </a:pPr>
            <a:r>
              <a:rPr lang="en-US" sz="1961" spc="-49" dirty="0">
                <a:gradFill>
                  <a:gsLst>
                    <a:gs pos="0">
                      <a:srgbClr val="505050"/>
                    </a:gs>
                    <a:gs pos="100000">
                      <a:srgbClr val="505050"/>
                    </a:gs>
                  </a:gsLst>
                </a:gradFill>
              </a:rPr>
              <a:t>Create Subnets, Private IP addresses</a:t>
            </a:r>
          </a:p>
          <a:p>
            <a:pPr defTabSz="914133">
              <a:spcAft>
                <a:spcPts val="588"/>
              </a:spcAft>
            </a:pPr>
            <a:r>
              <a:rPr lang="en-US" sz="1961" spc="-49" dirty="0">
                <a:gradFill>
                  <a:gsLst>
                    <a:gs pos="0">
                      <a:srgbClr val="505050"/>
                    </a:gs>
                    <a:gs pos="100000">
                      <a:srgbClr val="505050"/>
                    </a:gs>
                  </a:gsLst>
                </a:gradFill>
              </a:rPr>
              <a:t>Bring your own DNS</a:t>
            </a:r>
          </a:p>
          <a:p>
            <a:pPr defTabSz="914133">
              <a:spcAft>
                <a:spcPts val="588"/>
              </a:spcAft>
            </a:pPr>
            <a:r>
              <a:rPr lang="en-US" sz="1961" spc="-49" dirty="0">
                <a:gradFill>
                  <a:gsLst>
                    <a:gs pos="0">
                      <a:srgbClr val="505050"/>
                    </a:gs>
                    <a:gs pos="100000">
                      <a:srgbClr val="505050"/>
                    </a:gs>
                  </a:gsLst>
                </a:gradFill>
              </a:rPr>
              <a:t>Domain join your VMs</a:t>
            </a:r>
          </a:p>
        </p:txBody>
      </p:sp>
      <p:grpSp>
        <p:nvGrpSpPr>
          <p:cNvPr id="30" name="Group 29"/>
          <p:cNvGrpSpPr/>
          <p:nvPr/>
        </p:nvGrpSpPr>
        <p:grpSpPr>
          <a:xfrm>
            <a:off x="4711959" y="4918902"/>
            <a:ext cx="837285" cy="837287"/>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3" name="Rectangle 32"/>
            <p:cNvSpPr/>
            <p:nvPr/>
          </p:nvSpPr>
          <p:spPr>
            <a:xfrm>
              <a:off x="8599148" y="5617684"/>
              <a:ext cx="605814" cy="373767"/>
            </a:xfrm>
            <a:prstGeom prst="rect">
              <a:avLst/>
            </a:prstGeom>
          </p:spPr>
          <p:txBody>
            <a:bodyPr wrap="none">
              <a:spAutoFit/>
            </a:bodyPr>
            <a:lstStyle/>
            <a:p>
              <a:pPr algn="ctr" defTabSz="914133"/>
              <a:r>
                <a:rPr lang="en-US" sz="1372" b="1" spc="-49" dirty="0">
                  <a:gradFill>
                    <a:gsLst>
                      <a:gs pos="12389">
                        <a:srgbClr val="7FBA00"/>
                      </a:gs>
                      <a:gs pos="27000">
                        <a:srgbClr val="7FBA00"/>
                      </a:gs>
                    </a:gsLst>
                    <a:lin ang="5400000" scaled="1"/>
                  </a:gradFill>
                  <a:latin typeface="Segoe UI Light"/>
                </a:rPr>
                <a:t>VPN</a:t>
              </a:r>
              <a:endParaRPr lang="en-US" sz="1029" dirty="0">
                <a:gradFill>
                  <a:gsLst>
                    <a:gs pos="12389">
                      <a:srgbClr val="7FBA00"/>
                    </a:gs>
                    <a:gs pos="27000">
                      <a:srgbClr val="7FBA00"/>
                    </a:gs>
                  </a:gsLst>
                  <a:lin ang="5400000" scaled="1"/>
                </a:gradFill>
              </a:endParaRPr>
            </a:p>
          </p:txBody>
        </p:sp>
      </p:grpSp>
      <p:sp>
        <p:nvSpPr>
          <p:cNvPr id="35" name="TextBox 34"/>
          <p:cNvSpPr txBox="1"/>
          <p:nvPr/>
        </p:nvSpPr>
        <p:spPr>
          <a:xfrm>
            <a:off x="242437" y="1486031"/>
            <a:ext cx="7003500" cy="737577"/>
          </a:xfrm>
          <a:prstGeom prst="rect">
            <a:avLst/>
          </a:prstGeom>
          <a:noFill/>
        </p:spPr>
        <p:txBody>
          <a:bodyPr wrap="square" lIns="179259" tIns="143407" rIns="179259" bIns="143407" rtlCol="0">
            <a:noAutofit/>
          </a:bodyPr>
          <a:lstStyle/>
          <a:p>
            <a:pPr defTabSz="914133">
              <a:spcBef>
                <a:spcPct val="20000"/>
              </a:spcBef>
              <a:spcAft>
                <a:spcPts val="1175"/>
              </a:spcAft>
              <a:buSzPct val="80000"/>
            </a:pPr>
            <a:r>
              <a:rPr lang="en-US" sz="3137" spc="-49" dirty="0">
                <a:gradFill>
                  <a:gsLst>
                    <a:gs pos="2917">
                      <a:srgbClr val="00188F"/>
                    </a:gs>
                    <a:gs pos="30000">
                      <a:srgbClr val="00188F"/>
                    </a:gs>
                  </a:gsLst>
                  <a:lin ang="5400000" scaled="0"/>
                </a:gradFill>
                <a:latin typeface="Segoe UI Light"/>
              </a:rPr>
              <a:t>Windows Azure Infrastructure Services</a:t>
            </a:r>
          </a:p>
        </p:txBody>
      </p:sp>
    </p:spTree>
    <p:extLst>
      <p:ext uri="{BB962C8B-B14F-4D97-AF65-F5344CB8AC3E}">
        <p14:creationId xmlns:p14="http://schemas.microsoft.com/office/powerpoint/2010/main" val="800421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30000" decel="70000" fill="hold" nodeType="afterEffect">
                                  <p:stCondLst>
                                    <p:cond delay="0"/>
                                  </p:stCondLst>
                                  <p:childTnLst>
                                    <p:animMotion origin="layout" path="M -1.05693E-6 -4.33046E-6 L 0.09153 -0.08987 " pathEditMode="relative" rAng="0" ptsTypes="AA">
                                      <p:cBhvr>
                                        <p:cTn id="6" dur="500" fill="hold"/>
                                        <p:tgtEl>
                                          <p:spTgt spid="73"/>
                                        </p:tgtEl>
                                        <p:attrNameLst>
                                          <p:attrName>ppt_x</p:attrName>
                                          <p:attrName>ppt_y</p:attrName>
                                        </p:attrNameLst>
                                      </p:cBhvr>
                                      <p:rCtr x="4238" y="-4380"/>
                                    </p:animMotion>
                                  </p:childTnLst>
                                </p:cTn>
                              </p:par>
                              <p:par>
                                <p:cTn id="7" presetID="6" presetClass="emph" presetSubtype="0" accel="30000" decel="70000" fill="hold" nodeType="withEffect">
                                  <p:stCondLst>
                                    <p:cond delay="0"/>
                                  </p:stCondLst>
                                  <p:childTnLst>
                                    <p:animScale>
                                      <p:cBhvr>
                                        <p:cTn id="8" dur="500" fill="hold"/>
                                        <p:tgtEl>
                                          <p:spTgt spid="73"/>
                                        </p:tgtEl>
                                      </p:cBhvr>
                                      <p:by x="65400" y="65400"/>
                                    </p:animScale>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250"/>
                                        <p:tgtEl>
                                          <p:spTgt spid="25"/>
                                        </p:tgtEl>
                                      </p:cBhvr>
                                    </p:animEffect>
                                  </p:childTnLst>
                                </p:cTn>
                              </p:par>
                            </p:childTnLst>
                          </p:cTn>
                        </p:par>
                        <p:par>
                          <p:cTn id="13" fill="hold">
                            <p:stCondLst>
                              <p:cond delay="750"/>
                            </p:stCondLst>
                            <p:childTnLst>
                              <p:par>
                                <p:cTn id="14" presetID="22" presetClass="entr" presetSubtype="1" fill="hold"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up)">
                                      <p:cBhvr>
                                        <p:cTn id="16" dur="500"/>
                                        <p:tgtEl>
                                          <p:spTgt spid="10"/>
                                        </p:tgtEl>
                                      </p:cBhvr>
                                    </p:animEffect>
                                  </p:childTnLst>
                                </p:cTn>
                              </p:par>
                            </p:childTnLst>
                          </p:cTn>
                        </p:par>
                        <p:par>
                          <p:cTn id="17" fill="hold">
                            <p:stCondLst>
                              <p:cond delay="1250"/>
                            </p:stCondLst>
                            <p:childTnLst>
                              <p:par>
                                <p:cTn id="18" presetID="22" presetClass="entr" presetSubtype="2"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wipe(right)">
                                      <p:cBhvr>
                                        <p:cTn id="20" dur="500"/>
                                        <p:tgtEl>
                                          <p:spTgt spid="14"/>
                                        </p:tgtEl>
                                      </p:cBhvr>
                                    </p:animEffect>
                                  </p:childTnLst>
                                </p:cTn>
                              </p:par>
                            </p:childTnLst>
                          </p:cTn>
                        </p:par>
                        <p:par>
                          <p:cTn id="21" fill="hold">
                            <p:stCondLst>
                              <p:cond delay="1750"/>
                            </p:stCondLst>
                            <p:childTnLst>
                              <p:par>
                                <p:cTn id="22" presetID="10" presetClass="entr" presetSubtype="0" fill="hold" nodeType="after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250"/>
                                        <p:tgtEl>
                                          <p:spTgt spid="30"/>
                                        </p:tgtEl>
                                      </p:cBhvr>
                                    </p:animEffect>
                                  </p:childTnLst>
                                </p:cTn>
                              </p:par>
                            </p:childTnLst>
                          </p:cTn>
                        </p:par>
                        <p:par>
                          <p:cTn id="25" fill="hold">
                            <p:stCondLst>
                              <p:cond delay="2000"/>
                            </p:stCondLst>
                            <p:childTnLst>
                              <p:par>
                                <p:cTn id="26" presetID="53" presetClass="entr" presetSubtype="16" fill="hold" nodeType="afterEffect">
                                  <p:stCondLst>
                                    <p:cond delay="0"/>
                                  </p:stCondLst>
                                  <p:childTnLst>
                                    <p:set>
                                      <p:cBhvr>
                                        <p:cTn id="27" dur="1" fill="hold">
                                          <p:stCondLst>
                                            <p:cond delay="0"/>
                                          </p:stCondLst>
                                        </p:cTn>
                                        <p:tgtEl>
                                          <p:spTgt spid="54"/>
                                        </p:tgtEl>
                                        <p:attrNameLst>
                                          <p:attrName>style.visibility</p:attrName>
                                        </p:attrNameLst>
                                      </p:cBhvr>
                                      <p:to>
                                        <p:strVal val="visible"/>
                                      </p:to>
                                    </p:set>
                                    <p:anim calcmode="lin" valueType="num">
                                      <p:cBhvr>
                                        <p:cTn id="28" dur="250" fill="hold"/>
                                        <p:tgtEl>
                                          <p:spTgt spid="54"/>
                                        </p:tgtEl>
                                        <p:attrNameLst>
                                          <p:attrName>ppt_w</p:attrName>
                                        </p:attrNameLst>
                                      </p:cBhvr>
                                      <p:tavLst>
                                        <p:tav tm="0">
                                          <p:val>
                                            <p:fltVal val="0"/>
                                          </p:val>
                                        </p:tav>
                                        <p:tav tm="100000">
                                          <p:val>
                                            <p:strVal val="#ppt_w"/>
                                          </p:val>
                                        </p:tav>
                                      </p:tavLst>
                                    </p:anim>
                                    <p:anim calcmode="lin" valueType="num">
                                      <p:cBhvr>
                                        <p:cTn id="29" dur="250" fill="hold"/>
                                        <p:tgtEl>
                                          <p:spTgt spid="54"/>
                                        </p:tgtEl>
                                        <p:attrNameLst>
                                          <p:attrName>ppt_h</p:attrName>
                                        </p:attrNameLst>
                                      </p:cBhvr>
                                      <p:tavLst>
                                        <p:tav tm="0">
                                          <p:val>
                                            <p:fltVal val="0"/>
                                          </p:val>
                                        </p:tav>
                                        <p:tav tm="100000">
                                          <p:val>
                                            <p:strVal val="#ppt_h"/>
                                          </p:val>
                                        </p:tav>
                                      </p:tavLst>
                                    </p:anim>
                                    <p:animEffect transition="in" filter="fade">
                                      <p:cBhvr>
                                        <p:cTn id="30" dur="250"/>
                                        <p:tgtEl>
                                          <p:spTgt spid="54"/>
                                        </p:tgtEl>
                                      </p:cBhvr>
                                    </p:animEffect>
                                  </p:childTnLst>
                                </p:cTn>
                              </p:par>
                              <p:par>
                                <p:cTn id="31" presetID="6" presetClass="emph" presetSubtype="0" decel="100000" fill="hold" nodeType="withEffect">
                                  <p:stCondLst>
                                    <p:cond delay="200"/>
                                  </p:stCondLst>
                                  <p:childTnLst>
                                    <p:animScale>
                                      <p:cBhvr>
                                        <p:cTn id="32" dur="250" fill="hold"/>
                                        <p:tgtEl>
                                          <p:spTgt spid="54"/>
                                        </p:tgtEl>
                                      </p:cBhvr>
                                      <p:by x="110000" y="110000"/>
                                    </p:animScale>
                                  </p:childTnLst>
                                </p:cTn>
                              </p:par>
                              <p:par>
                                <p:cTn id="33" presetID="6" presetClass="emph" presetSubtype="0" decel="100000" fill="hold" nodeType="withEffect">
                                  <p:stCondLst>
                                    <p:cond delay="300"/>
                                  </p:stCondLst>
                                  <p:childTnLst>
                                    <p:animScale>
                                      <p:cBhvr>
                                        <p:cTn id="34" dur="250" fill="hold"/>
                                        <p:tgtEl>
                                          <p:spTgt spid="54"/>
                                        </p:tgtEl>
                                      </p:cBhvr>
                                      <p:by x="91000" y="91000"/>
                                    </p:animScale>
                                  </p:childTnLst>
                                </p:cTn>
                              </p:par>
                              <p:par>
                                <p:cTn id="35" presetID="10" presetClass="entr" presetSubtype="0" fill="hold" grpId="0" nodeType="withEffect">
                                  <p:stCondLst>
                                    <p:cond delay="3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600"/>
                                        <p:tgtEl>
                                          <p:spTgt spid="68"/>
                                        </p:tgtEl>
                                      </p:cBhvr>
                                    </p:animEffect>
                                  </p:childTnLst>
                                </p:cTn>
                              </p:par>
                              <p:par>
                                <p:cTn id="38" presetID="35" presetClass="path" presetSubtype="0" decel="100000" fill="hold" grpId="1" nodeType="withEffect">
                                  <p:stCondLst>
                                    <p:cond delay="100"/>
                                  </p:stCondLst>
                                  <p:childTnLst>
                                    <p:animMotion origin="layout" path="M -0.05553 0.00023 L 3.518E-6 0.00023 " pathEditMode="relative" rAng="0" ptsTypes="AA">
                                      <p:cBhvr>
                                        <p:cTn id="39" dur="800" fill="hold"/>
                                        <p:tgtEl>
                                          <p:spTgt spid="68"/>
                                        </p:tgtEl>
                                        <p:attrNameLst>
                                          <p:attrName>ppt_x</p:attrName>
                                          <p:attrName>ppt_y</p:attrName>
                                        </p:attrNameLst>
                                      </p:cBhvr>
                                      <p:rCtr x="2770" y="0"/>
                                    </p:animMotion>
                                  </p:childTnLst>
                                </p:cTn>
                              </p:par>
                              <p:par>
                                <p:cTn id="40" presetID="10" presetClass="entr" presetSubtype="0" fill="hold" grpId="0" nodeType="withEffect">
                                  <p:stCondLst>
                                    <p:cond delay="20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600"/>
                                        <p:tgtEl>
                                          <p:spTgt spid="29"/>
                                        </p:tgtEl>
                                      </p:cBhvr>
                                    </p:animEffect>
                                  </p:childTnLst>
                                </p:cTn>
                              </p:par>
                              <p:par>
                                <p:cTn id="43" presetID="35" presetClass="path" presetSubtype="0" decel="100000" fill="hold" grpId="1" nodeType="withEffect">
                                  <p:stCondLst>
                                    <p:cond delay="0"/>
                                  </p:stCondLst>
                                  <p:childTnLst>
                                    <p:animMotion origin="layout" path="M -0.05553 0.00023 L 4.70513E-6 0.00023 " pathEditMode="relative" rAng="0" ptsTypes="AA">
                                      <p:cBhvr>
                                        <p:cTn id="44" dur="800" fill="hold"/>
                                        <p:tgtEl>
                                          <p:spTgt spid="29"/>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8" grpId="1"/>
      <p:bldP spid="29" grpId="0"/>
      <p:bldP spid="29"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 your infrastructure</a:t>
            </a:r>
            <a:endParaRPr lang="en-US" dirty="0"/>
          </a:p>
        </p:txBody>
      </p:sp>
      <p:sp>
        <p:nvSpPr>
          <p:cNvPr id="68" name="TextBox 67"/>
          <p:cNvSpPr txBox="1"/>
          <p:nvPr/>
        </p:nvSpPr>
        <p:spPr>
          <a:xfrm rot="16200000">
            <a:off x="-424051" y="5058923"/>
            <a:ext cx="1977612" cy="561211"/>
          </a:xfrm>
          <a:prstGeom prst="rect">
            <a:avLst/>
          </a:prstGeom>
          <a:noFill/>
        </p:spPr>
        <p:txBody>
          <a:bodyPr wrap="square" lIns="0" tIns="143428" rIns="0" bIns="143428"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14133"/>
            <a:r>
              <a:rPr lang="en-US" sz="1961" b="0" dirty="0">
                <a:gradFill>
                  <a:gsLst>
                    <a:gs pos="69027">
                      <a:srgbClr val="FFFFFF"/>
                    </a:gs>
                    <a:gs pos="56000">
                      <a:srgbClr val="FFFFFF"/>
                    </a:gs>
                  </a:gsLst>
                  <a:lin ang="5400000" scaled="0"/>
                </a:gradFill>
                <a:latin typeface="Segoe UI"/>
              </a:rPr>
              <a:t>On-premise</a:t>
            </a:r>
          </a:p>
        </p:txBody>
      </p:sp>
      <p:sp>
        <p:nvSpPr>
          <p:cNvPr id="100" name="Rectangle 99"/>
          <p:cNvSpPr/>
          <p:nvPr/>
        </p:nvSpPr>
        <p:spPr bwMode="auto">
          <a:xfrm>
            <a:off x="168021" y="1430333"/>
            <a:ext cx="6271475" cy="55292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627" tIns="179261" rIns="89627" bIns="44813" numCol="1" rtlCol="0" anchor="t" anchorCtr="0" compatLnSpc="1">
            <a:prstTxWarp prst="textNoShape">
              <a:avLst/>
            </a:prstTxWarp>
          </a:bodyPr>
          <a:lstStyle/>
          <a:p>
            <a:pPr marL="224054" defTabSz="914133">
              <a:lnSpc>
                <a:spcPct val="90000"/>
              </a:lnSpc>
              <a:spcAft>
                <a:spcPts val="1176"/>
              </a:spcAft>
            </a:pPr>
            <a:r>
              <a:rPr lang="en-US" sz="3137" dirty="0">
                <a:gradFill>
                  <a:gsLst>
                    <a:gs pos="0">
                      <a:srgbClr val="00188F"/>
                    </a:gs>
                    <a:gs pos="100000">
                      <a:srgbClr val="00188F"/>
                    </a:gs>
                  </a:gsLst>
                  <a:lin ang="5400000" scaled="1"/>
                </a:gradFill>
                <a:latin typeface="Segoe UI Light"/>
              </a:rPr>
              <a:t>Your Workloads and </a:t>
            </a:r>
            <a:br>
              <a:rPr lang="en-US" sz="3137" dirty="0">
                <a:gradFill>
                  <a:gsLst>
                    <a:gs pos="0">
                      <a:srgbClr val="00188F"/>
                    </a:gs>
                    <a:gs pos="100000">
                      <a:srgbClr val="00188F"/>
                    </a:gs>
                  </a:gsLst>
                  <a:lin ang="5400000" scaled="1"/>
                </a:gradFill>
                <a:latin typeface="Segoe UI Light"/>
              </a:rPr>
            </a:br>
            <a:r>
              <a:rPr lang="en-US" sz="3137" dirty="0">
                <a:gradFill>
                  <a:gsLst>
                    <a:gs pos="0">
                      <a:srgbClr val="00188F"/>
                    </a:gs>
                    <a:gs pos="100000">
                      <a:srgbClr val="00188F"/>
                    </a:gs>
                  </a:gsLst>
                  <a:lin ang="5400000" scaled="1"/>
                </a:gradFill>
                <a:latin typeface="Segoe UI Light"/>
              </a:rPr>
              <a:t>Infrastructure Services</a:t>
            </a:r>
          </a:p>
          <a:p>
            <a:pPr marL="231878" defTabSz="914133">
              <a:lnSpc>
                <a:spcPct val="90000"/>
              </a:lnSpc>
              <a:spcAft>
                <a:spcPts val="588"/>
              </a:spcAft>
            </a:pPr>
            <a:r>
              <a:rPr lang="en-US" sz="1961" spc="-49" dirty="0">
                <a:gradFill>
                  <a:gsLst>
                    <a:gs pos="0">
                      <a:srgbClr val="505050"/>
                    </a:gs>
                    <a:gs pos="100000">
                      <a:srgbClr val="505050"/>
                    </a:gs>
                  </a:gsLst>
                  <a:lin ang="5400000" scaled="1"/>
                </a:gradFill>
              </a:rPr>
              <a:t>Design, implement, and develop on SharePoint 2010/2013 without hardware</a:t>
            </a:r>
          </a:p>
          <a:p>
            <a:pPr marL="231878" defTabSz="914133">
              <a:lnSpc>
                <a:spcPct val="90000"/>
              </a:lnSpc>
              <a:spcAft>
                <a:spcPts val="588"/>
              </a:spcAft>
            </a:pPr>
            <a:r>
              <a:rPr lang="en-US" sz="1961" spc="-49" dirty="0">
                <a:gradFill>
                  <a:gsLst>
                    <a:gs pos="0">
                      <a:srgbClr val="505050"/>
                    </a:gs>
                    <a:gs pos="100000">
                      <a:srgbClr val="505050"/>
                    </a:gs>
                  </a:gsLst>
                  <a:lin ang="5400000" scaled="1"/>
                </a:gradFill>
              </a:rPr>
              <a:t>Develop custom internet sites and collaboration apps </a:t>
            </a:r>
          </a:p>
          <a:p>
            <a:pPr marL="231878" defTabSz="914133">
              <a:lnSpc>
                <a:spcPct val="90000"/>
              </a:lnSpc>
              <a:spcAft>
                <a:spcPts val="588"/>
              </a:spcAft>
            </a:pPr>
            <a:r>
              <a:rPr lang="en-US" sz="1961" spc="-49"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Apps with public web front ends, variable traffic </a:t>
            </a:r>
            <a:br>
              <a:rPr lang="en-US" sz="1961" spc="-49"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961" spc="-49"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or sit in a demilitarized zone</a:t>
            </a:r>
          </a:p>
          <a:p>
            <a:pPr marL="231878" defTabSz="914133">
              <a:lnSpc>
                <a:spcPct val="90000"/>
              </a:lnSpc>
              <a:spcAft>
                <a:spcPts val="588"/>
              </a:spcAft>
            </a:pPr>
            <a:r>
              <a:rPr lang="en-US" sz="1961" spc="-49"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Custom apps, Specialty Servers running workloads </a:t>
            </a:r>
            <a:br>
              <a:rPr lang="en-US" sz="1961" spc="-49"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br>
            <a:r>
              <a:rPr lang="en-US" sz="1961" spc="-49" dirty="0">
                <a:gradFill>
                  <a:gsLst>
                    <a:gs pos="0">
                      <a:srgbClr val="505050"/>
                    </a:gs>
                    <a:gs pos="100000">
                      <a:srgbClr val="505050"/>
                    </a:gs>
                  </a:gsLst>
                  <a:lin ang="5400000" scaled="1"/>
                </a:gradFill>
                <a:latin typeface="Segoe UI Semibold" panose="020B0702040204020203" pitchFamily="34" charset="0"/>
                <a:cs typeface="Segoe UI Semibold" panose="020B0702040204020203" pitchFamily="34" charset="0"/>
              </a:rPr>
              <a:t>with periodic spikes</a:t>
            </a:r>
          </a:p>
          <a:p>
            <a:pPr marL="224054" defTabSz="914133">
              <a:spcAft>
                <a:spcPts val="2352"/>
              </a:spcAft>
            </a:pPr>
            <a:endParaRPr lang="en-US" sz="1961" dirty="0">
              <a:solidFill>
                <a:srgbClr val="969696">
                  <a:lumMod val="50000"/>
                </a:srgbClr>
              </a:solidFill>
              <a:latin typeface="Segoe UI Light"/>
              <a:cs typeface="Segoe UI" panose="020B0502040204020203" pitchFamily="34" charset="0"/>
            </a:endParaRPr>
          </a:p>
        </p:txBody>
      </p:sp>
      <p:grpSp>
        <p:nvGrpSpPr>
          <p:cNvPr id="17" name="Group 16"/>
          <p:cNvGrpSpPr/>
          <p:nvPr/>
        </p:nvGrpSpPr>
        <p:grpSpPr>
          <a:xfrm>
            <a:off x="8230063" y="1582063"/>
            <a:ext cx="1169221" cy="1930339"/>
            <a:chOff x="8395093" y="1613290"/>
            <a:chExt cx="1192666" cy="1969046"/>
          </a:xfrm>
        </p:grpSpPr>
        <p:sp>
          <p:nvSpPr>
            <p:cNvPr id="36" name="Rectangle 35"/>
            <p:cNvSpPr/>
            <p:nvPr/>
          </p:nvSpPr>
          <p:spPr>
            <a:xfrm>
              <a:off x="8401509" y="1663639"/>
              <a:ext cx="1040511" cy="535531"/>
            </a:xfrm>
            <a:prstGeom prst="rect">
              <a:avLst/>
            </a:prstGeom>
          </p:spPr>
          <p:txBody>
            <a:bodyPr wrap="square">
              <a:spAutoFit/>
            </a:bodyPr>
            <a:lstStyle/>
            <a:p>
              <a:pPr algn="ctr" defTabSz="914133" fontAlgn="base">
                <a:lnSpc>
                  <a:spcPct val="80000"/>
                </a:lnSpc>
                <a:spcBef>
                  <a:spcPct val="0"/>
                </a:spcBef>
                <a:spcAft>
                  <a:spcPct val="0"/>
                </a:spcAft>
              </a:pPr>
              <a:r>
                <a:rPr lang="en-US" sz="1765" b="1" spc="-49" dirty="0">
                  <a:gradFill>
                    <a:gsLst>
                      <a:gs pos="2917">
                        <a:srgbClr val="00188F"/>
                      </a:gs>
                      <a:gs pos="30000">
                        <a:srgbClr val="00188F"/>
                      </a:gs>
                    </a:gsLst>
                    <a:lin ang="5400000" scaled="0"/>
                  </a:gradFill>
                  <a:latin typeface="Segoe UI Light"/>
                </a:rPr>
                <a:t>Virtual Network</a:t>
              </a:r>
            </a:p>
          </p:txBody>
        </p:sp>
        <p:cxnSp>
          <p:nvCxnSpPr>
            <p:cNvPr id="37" name="Straight Connector 36"/>
            <p:cNvCxnSpPr/>
            <p:nvPr/>
          </p:nvCxnSpPr>
          <p:spPr>
            <a:xfrm flipH="1" flipV="1">
              <a:off x="8395093" y="1650990"/>
              <a:ext cx="17654" cy="1931346"/>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613290"/>
              <a:ext cx="1192665" cy="19869"/>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6744714" y="2520886"/>
            <a:ext cx="1886417" cy="2844090"/>
            <a:chOff x="6879959" y="2570938"/>
            <a:chExt cx="1924244" cy="2901120"/>
          </a:xfrm>
        </p:grpSpPr>
        <p:pic>
          <p:nvPicPr>
            <p:cNvPr id="35" name="Picture 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79959" y="2570938"/>
              <a:ext cx="1857462" cy="2775203"/>
            </a:xfrm>
            <a:prstGeom prst="rect">
              <a:avLst/>
            </a:prstGeom>
          </p:spPr>
        </p:pic>
        <p:grpSp>
          <p:nvGrpSpPr>
            <p:cNvPr id="39" name="Group 38"/>
            <p:cNvGrpSpPr/>
            <p:nvPr/>
          </p:nvGrpSpPr>
          <p:grpSpPr>
            <a:xfrm>
              <a:off x="7765108" y="4301831"/>
              <a:ext cx="797864" cy="619873"/>
              <a:chOff x="5764911" y="4942748"/>
              <a:chExt cx="1117339" cy="1121466"/>
            </a:xfrm>
          </p:grpSpPr>
          <p:grpSp>
            <p:nvGrpSpPr>
              <p:cNvPr id="43" name="Group 42"/>
              <p:cNvGrpSpPr/>
              <p:nvPr/>
            </p:nvGrpSpPr>
            <p:grpSpPr>
              <a:xfrm flipH="1">
                <a:off x="6564710" y="4942748"/>
                <a:ext cx="317540" cy="1121466"/>
                <a:chOff x="765004" y="3105986"/>
                <a:chExt cx="822991" cy="2906584"/>
              </a:xfrm>
              <a:solidFill>
                <a:srgbClr val="FFFFFF"/>
              </a:solidFill>
            </p:grpSpPr>
            <p:sp>
              <p:nvSpPr>
                <p:cNvPr id="45"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a:gradFill>
                      <a:gsLst>
                        <a:gs pos="1250">
                          <a:srgbClr val="EFEFEF"/>
                        </a:gs>
                        <a:gs pos="10417">
                          <a:srgbClr val="EFEFEF"/>
                        </a:gs>
                      </a:gsLst>
                      <a:lin ang="5400000" scaled="0"/>
                    </a:gradFill>
                  </a:endParaRPr>
                </a:p>
              </p:txBody>
            </p:sp>
            <p:sp>
              <p:nvSpPr>
                <p:cNvPr id="46" name="Oval 742"/>
                <p:cNvSpPr>
                  <a:spLocks noChangeArrowheads="1"/>
                </p:cNvSpPr>
                <p:nvPr/>
              </p:nvSpPr>
              <p:spPr bwMode="auto">
                <a:xfrm>
                  <a:off x="931147" y="3105986"/>
                  <a:ext cx="490705" cy="635997"/>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a:gradFill>
                      <a:gsLst>
                        <a:gs pos="1250">
                          <a:srgbClr val="EFEFEF"/>
                        </a:gs>
                        <a:gs pos="10417">
                          <a:srgbClr val="EFEFEF"/>
                        </a:gs>
                      </a:gsLst>
                      <a:lin ang="5400000" scaled="0"/>
                    </a:gradFill>
                  </a:endParaRPr>
                </a:p>
              </p:txBody>
            </p:sp>
          </p:grpSp>
          <p:sp>
            <p:nvSpPr>
              <p:cNvPr id="44"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pic>
          <p:nvPicPr>
            <p:cNvPr id="40" name="Picture 3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715013" y="3644027"/>
              <a:ext cx="912804" cy="601003"/>
            </a:xfrm>
            <a:prstGeom prst="rect">
              <a:avLst/>
            </a:prstGeom>
          </p:spPr>
        </p:pic>
        <p:pic>
          <p:nvPicPr>
            <p:cNvPr id="99" name="Picture 9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956455" y="3661650"/>
              <a:ext cx="404602" cy="423706"/>
            </a:xfrm>
            <a:prstGeom prst="rect">
              <a:avLst/>
            </a:prstGeom>
          </p:spPr>
        </p:pic>
        <p:sp>
          <p:nvSpPr>
            <p:cNvPr id="9" name="TextBox 8"/>
            <p:cNvSpPr txBox="1"/>
            <p:nvPr/>
          </p:nvSpPr>
          <p:spPr>
            <a:xfrm>
              <a:off x="7614291" y="4788794"/>
              <a:ext cx="1189912" cy="683264"/>
            </a:xfrm>
            <a:prstGeom prst="rect">
              <a:avLst/>
            </a:prstGeom>
            <a:noFill/>
          </p:spPr>
          <p:txBody>
            <a:bodyPr wrap="square" lIns="179285" tIns="143428" rIns="179285" bIns="143428" rtlCol="0">
              <a:spAutoFit/>
            </a:bodyPr>
            <a:lstStyle/>
            <a:p>
              <a:pPr defTabSz="914133">
                <a:lnSpc>
                  <a:spcPct val="90000"/>
                </a:lnSpc>
              </a:pPr>
              <a:r>
                <a:rPr lang="en-US" sz="1372" spc="-49" dirty="0">
                  <a:solidFill>
                    <a:srgbClr val="FFFFFF"/>
                  </a:solidFill>
                </a:rPr>
                <a:t>Existing </a:t>
              </a:r>
              <a:br>
                <a:rPr lang="en-US" sz="1372" spc="-49" dirty="0">
                  <a:solidFill>
                    <a:srgbClr val="FFFFFF"/>
                  </a:solidFill>
                </a:rPr>
              </a:br>
              <a:r>
                <a:rPr lang="en-US" sz="1372" spc="-49" dirty="0">
                  <a:solidFill>
                    <a:srgbClr val="FFFFFF"/>
                  </a:solidFill>
                </a:rPr>
                <a:t>Datacenter</a:t>
              </a:r>
            </a:p>
          </p:txBody>
        </p:sp>
      </p:grpSp>
      <p:grpSp>
        <p:nvGrpSpPr>
          <p:cNvPr id="16" name="Group 15"/>
          <p:cNvGrpSpPr/>
          <p:nvPr/>
        </p:nvGrpSpPr>
        <p:grpSpPr>
          <a:xfrm>
            <a:off x="8727411" y="1229373"/>
            <a:ext cx="3323873" cy="4255132"/>
            <a:chOff x="8902413" y="1253528"/>
            <a:chExt cx="3390524" cy="4340456"/>
          </a:xfrm>
        </p:grpSpPr>
        <p:grpSp>
          <p:nvGrpSpPr>
            <p:cNvPr id="13" name="Group 12"/>
            <p:cNvGrpSpPr/>
            <p:nvPr/>
          </p:nvGrpSpPr>
          <p:grpSpPr>
            <a:xfrm>
              <a:off x="8902413" y="1253528"/>
              <a:ext cx="3390524" cy="4340456"/>
              <a:chOff x="8818610" y="1360407"/>
              <a:chExt cx="3390524" cy="4340456"/>
            </a:xfrm>
          </p:grpSpPr>
          <p:grpSp>
            <p:nvGrpSpPr>
              <p:cNvPr id="8" name="Group 7"/>
              <p:cNvGrpSpPr/>
              <p:nvPr/>
            </p:nvGrpSpPr>
            <p:grpSpPr>
              <a:xfrm>
                <a:off x="8818610" y="1360407"/>
                <a:ext cx="3390524" cy="4340456"/>
                <a:chOff x="8818610" y="1360407"/>
                <a:chExt cx="3390524" cy="4340456"/>
              </a:xfrm>
            </p:grpSpPr>
            <p:grpSp>
              <p:nvGrpSpPr>
                <p:cNvPr id="49" name="Group 48"/>
                <p:cNvGrpSpPr/>
                <p:nvPr/>
              </p:nvGrpSpPr>
              <p:grpSpPr>
                <a:xfrm>
                  <a:off x="9707392" y="4873470"/>
                  <a:ext cx="1517694" cy="827393"/>
                  <a:chOff x="10350972" y="4610947"/>
                  <a:chExt cx="996491" cy="513776"/>
                </a:xfrm>
                <a:solidFill>
                  <a:schemeClr val="accent1"/>
                </a:solidFill>
              </p:grpSpPr>
              <p:grpSp>
                <p:nvGrpSpPr>
                  <p:cNvPr id="84" name="Group 83"/>
                  <p:cNvGrpSpPr/>
                  <p:nvPr/>
                </p:nvGrpSpPr>
                <p:grpSpPr>
                  <a:xfrm>
                    <a:off x="10350972" y="4610947"/>
                    <a:ext cx="414816" cy="513776"/>
                    <a:chOff x="10807598" y="2035607"/>
                    <a:chExt cx="863086" cy="1068988"/>
                  </a:xfrm>
                  <a:grpFill/>
                </p:grpSpPr>
                <p:sp>
                  <p:nvSpPr>
                    <p:cNvPr id="93" name="Oval 742"/>
                    <p:cNvSpPr>
                      <a:spLocks noChangeArrowheads="1"/>
                    </p:cNvSpPr>
                    <p:nvPr/>
                  </p:nvSpPr>
                  <p:spPr bwMode="auto">
                    <a:xfrm>
                      <a:off x="11350175" y="2035607"/>
                      <a:ext cx="239439" cy="241323"/>
                    </a:xfrm>
                    <a:prstGeom prst="ellipse">
                      <a:avLst/>
                    </a:prstGeom>
                    <a:grpFill/>
                    <a:ln>
                      <a:solidFill>
                        <a:schemeClr val="accent1"/>
                      </a:solidFill>
                    </a:ln>
                    <a:extLst/>
                  </p:spPr>
                  <p:txBody>
                    <a:bodyPr vert="horz" wrap="square" lIns="89642" tIns="44821" rIns="89642" bIns="44821" numCol="1" anchor="t" anchorCtr="0" compatLnSpc="1">
                      <a:prstTxWarp prst="textNoShape">
                        <a:avLst/>
                      </a:prstTxWarp>
                    </a:bodyPr>
                    <a:lstStyle/>
                    <a:p>
                      <a:pPr defTabSz="896350"/>
                      <a:endParaRPr lang="en-US" sz="1765">
                        <a:solidFill>
                          <a:srgbClr val="FFFFFF"/>
                        </a:solidFill>
                      </a:endParaRPr>
                    </a:p>
                  </p:txBody>
                </p:sp>
                <p:sp>
                  <p:nvSpPr>
                    <p:cNvPr id="94" name="Freeform 741"/>
                    <p:cNvSpPr>
                      <a:spLocks/>
                    </p:cNvSpPr>
                    <p:nvPr/>
                  </p:nvSpPr>
                  <p:spPr bwMode="auto">
                    <a:xfrm>
                      <a:off x="1126910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89642" tIns="44821" rIns="89642" bIns="44821" numCol="1" anchor="t" anchorCtr="0" compatLnSpc="1">
                      <a:prstTxWarp prst="textNoShape">
                        <a:avLst/>
                      </a:prstTxWarp>
                    </a:bodyPr>
                    <a:lstStyle/>
                    <a:p>
                      <a:pPr defTabSz="896350"/>
                      <a:endParaRPr lang="en-US" sz="1765">
                        <a:solidFill>
                          <a:srgbClr val="FFFFFF"/>
                        </a:solidFill>
                      </a:endParaRPr>
                    </a:p>
                  </p:txBody>
                </p:sp>
                <p:sp>
                  <p:nvSpPr>
                    <p:cNvPr id="95" name="Freeform 12"/>
                    <p:cNvSpPr>
                      <a:spLocks noEditPoints="1"/>
                    </p:cNvSpPr>
                    <p:nvPr/>
                  </p:nvSpPr>
                  <p:spPr bwMode="auto">
                    <a:xfrm>
                      <a:off x="10807598" y="2418949"/>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nvGrpSpPr>
                  <p:cNvPr id="85" name="Group 84"/>
                  <p:cNvGrpSpPr/>
                  <p:nvPr/>
                </p:nvGrpSpPr>
                <p:grpSpPr>
                  <a:xfrm>
                    <a:off x="10932647" y="4610947"/>
                    <a:ext cx="414816" cy="513776"/>
                    <a:chOff x="10937718" y="2035607"/>
                    <a:chExt cx="863086" cy="1068988"/>
                  </a:xfrm>
                  <a:grpFill/>
                </p:grpSpPr>
                <p:sp>
                  <p:nvSpPr>
                    <p:cNvPr id="90" name="Oval 742"/>
                    <p:cNvSpPr>
                      <a:spLocks noChangeArrowheads="1"/>
                    </p:cNvSpPr>
                    <p:nvPr/>
                  </p:nvSpPr>
                  <p:spPr bwMode="auto">
                    <a:xfrm>
                      <a:off x="11480295" y="2035607"/>
                      <a:ext cx="239439" cy="241323"/>
                    </a:xfrm>
                    <a:prstGeom prst="ellipse">
                      <a:avLst/>
                    </a:prstGeom>
                    <a:grpFill/>
                    <a:ln>
                      <a:solidFill>
                        <a:schemeClr val="accent1"/>
                      </a:solidFill>
                    </a:ln>
                    <a:extLst/>
                  </p:spPr>
                  <p:txBody>
                    <a:bodyPr vert="horz" wrap="square" lIns="89642" tIns="44821" rIns="89642" bIns="44821" numCol="1" anchor="t" anchorCtr="0" compatLnSpc="1">
                      <a:prstTxWarp prst="textNoShape">
                        <a:avLst/>
                      </a:prstTxWarp>
                    </a:bodyPr>
                    <a:lstStyle/>
                    <a:p>
                      <a:pPr defTabSz="896350"/>
                      <a:endParaRPr lang="en-US" sz="1765">
                        <a:solidFill>
                          <a:srgbClr val="FFFFFF"/>
                        </a:solidFill>
                      </a:endParaRPr>
                    </a:p>
                  </p:txBody>
                </p:sp>
                <p:sp>
                  <p:nvSpPr>
                    <p:cNvPr id="91"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89642" tIns="44821" rIns="89642" bIns="44821" numCol="1" anchor="t" anchorCtr="0" compatLnSpc="1">
                      <a:prstTxWarp prst="textNoShape">
                        <a:avLst/>
                      </a:prstTxWarp>
                    </a:bodyPr>
                    <a:lstStyle/>
                    <a:p>
                      <a:pPr defTabSz="896350"/>
                      <a:endParaRPr lang="en-US" sz="1765">
                        <a:solidFill>
                          <a:srgbClr val="FFFFFF"/>
                        </a:solidFill>
                      </a:endParaRPr>
                    </a:p>
                  </p:txBody>
                </p:sp>
                <p:sp>
                  <p:nvSpPr>
                    <p:cNvPr id="92"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grpSp>
            <p:sp>
              <p:nvSpPr>
                <p:cNvPr id="51" name="Rectangle 50"/>
                <p:cNvSpPr/>
                <p:nvPr/>
              </p:nvSpPr>
              <p:spPr>
                <a:xfrm flipH="1">
                  <a:off x="9977387" y="3977204"/>
                  <a:ext cx="1305877" cy="315846"/>
                </a:xfrm>
                <a:prstGeom prst="rect">
                  <a:avLst/>
                </a:prstGeom>
                <a:noFill/>
                <a:ln>
                  <a:noFill/>
                </a:ln>
              </p:spPr>
              <p:txBody>
                <a:bodyPr wrap="square">
                  <a:spAutoFit/>
                </a:bodyPr>
                <a:lstStyle/>
                <a:p>
                  <a:pPr algn="ctr" defTabSz="914133" fontAlgn="base">
                    <a:lnSpc>
                      <a:spcPct val="80000"/>
                    </a:lnSpc>
                    <a:spcBef>
                      <a:spcPct val="0"/>
                    </a:spcBef>
                    <a:spcAft>
                      <a:spcPct val="0"/>
                    </a:spcAft>
                  </a:pPr>
                  <a:r>
                    <a:rPr lang="en-US" sz="1765" b="1" spc="-49" dirty="0">
                      <a:gradFill>
                        <a:gsLst>
                          <a:gs pos="2917">
                            <a:srgbClr val="00188F"/>
                          </a:gs>
                          <a:gs pos="30000">
                            <a:srgbClr val="00188F"/>
                          </a:gs>
                        </a:gsLst>
                        <a:lin ang="5400000" scaled="0"/>
                      </a:gradFill>
                      <a:latin typeface="Segoe UI Light"/>
                    </a:rPr>
                    <a:t>Internet</a:t>
                  </a:r>
                </a:p>
              </p:txBody>
            </p:sp>
            <p:cxnSp>
              <p:nvCxnSpPr>
                <p:cNvPr id="52" name="Straight Connector 51"/>
                <p:cNvCxnSpPr/>
                <p:nvPr/>
              </p:nvCxnSpPr>
              <p:spPr>
                <a:xfrm>
                  <a:off x="10184774"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070686"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chemeClr val="accent1"/>
                  </a:solidFill>
                </a:ln>
                <a:extLst/>
              </p:spPr>
              <p:txBody>
                <a:bodyPr vert="horz" wrap="square" lIns="89642" tIns="179285" rIns="448212" bIns="44821" numCol="1" anchor="t" anchorCtr="0" compatLnSpc="1">
                  <a:prstTxWarp prst="textNoShape">
                    <a:avLst/>
                  </a:prstTxWarp>
                </a:bodyPr>
                <a:lstStyle/>
                <a:p>
                  <a:pPr algn="ctr" defTabSz="914133" fontAlgn="base">
                    <a:lnSpc>
                      <a:spcPct val="90000"/>
                    </a:lnSpc>
                    <a:spcBef>
                      <a:spcPct val="0"/>
                    </a:spcBef>
                    <a:spcAft>
                      <a:spcPct val="0"/>
                    </a:spcAft>
                  </a:pPr>
                  <a:endParaRPr lang="en-US" sz="1765" spc="-49" dirty="0">
                    <a:gradFill>
                      <a:gsLst>
                        <a:gs pos="2917">
                          <a:srgbClr val="EFEFEF"/>
                        </a:gs>
                        <a:gs pos="30000">
                          <a:srgbClr val="EFEFEF"/>
                        </a:gs>
                      </a:gsLst>
                      <a:lin ang="5400000" scaled="0"/>
                    </a:gradFill>
                    <a:latin typeface="Segoe UI Light"/>
                  </a:endParaRPr>
                </a:p>
              </p:txBody>
            </p:sp>
            <p:sp>
              <p:nvSpPr>
                <p:cNvPr id="72" name="Freeform 24"/>
                <p:cNvSpPr>
                  <a:spLocks noEditPoints="1"/>
                </p:cNvSpPr>
                <p:nvPr/>
              </p:nvSpPr>
              <p:spPr bwMode="black">
                <a:xfrm>
                  <a:off x="10082186" y="2613539"/>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74" name="Freeform 24"/>
                <p:cNvSpPr>
                  <a:spLocks noEditPoints="1"/>
                </p:cNvSpPr>
                <p:nvPr/>
              </p:nvSpPr>
              <p:spPr bwMode="black">
                <a:xfrm>
                  <a:off x="9603101" y="1987556"/>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81" name="Freeform 24"/>
                <p:cNvSpPr>
                  <a:spLocks noEditPoints="1"/>
                </p:cNvSpPr>
                <p:nvPr/>
              </p:nvSpPr>
              <p:spPr bwMode="black">
                <a:xfrm>
                  <a:off x="9072559" y="2547394"/>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77" name="TextBox 76"/>
                <p:cNvSpPr txBox="1"/>
                <p:nvPr/>
              </p:nvSpPr>
              <p:spPr>
                <a:xfrm>
                  <a:off x="9751897" y="2001180"/>
                  <a:ext cx="884587" cy="572464"/>
                </a:xfrm>
                <a:prstGeom prst="rect">
                  <a:avLst/>
                </a:prstGeom>
                <a:noFill/>
                <a:ln>
                  <a:noFill/>
                </a:ln>
              </p:spPr>
              <p:txBody>
                <a:bodyPr wrap="square" lIns="179285" tIns="143428" rIns="179285" bIns="143428" rtlCol="0">
                  <a:spAutoFit/>
                </a:bodyPr>
                <a:lstStyle/>
                <a:p>
                  <a:pPr defTabSz="914133">
                    <a:lnSpc>
                      <a:spcPct val="90000"/>
                    </a:lnSpc>
                  </a:pPr>
                  <a:r>
                    <a:rPr lang="en-US" sz="980" spc="-49" dirty="0">
                      <a:solidFill>
                        <a:srgbClr val="00188F"/>
                      </a:solidFill>
                      <a:ea typeface="Segoe UI" panose="020B0502040204020203" pitchFamily="34" charset="0"/>
                      <a:cs typeface="Segoe UI" panose="020B0502040204020203" pitchFamily="34" charset="0"/>
                    </a:rPr>
                    <a:t>Active Directory</a:t>
                  </a:r>
                </a:p>
              </p:txBody>
            </p:sp>
            <p:sp>
              <p:nvSpPr>
                <p:cNvPr id="79" name="TextBox 78"/>
                <p:cNvSpPr txBox="1"/>
                <p:nvPr/>
              </p:nvSpPr>
              <p:spPr>
                <a:xfrm>
                  <a:off x="9110914" y="2609052"/>
                  <a:ext cx="1033384" cy="433965"/>
                </a:xfrm>
                <a:prstGeom prst="rect">
                  <a:avLst/>
                </a:prstGeom>
                <a:noFill/>
                <a:ln>
                  <a:noFill/>
                </a:ln>
              </p:spPr>
              <p:txBody>
                <a:bodyPr wrap="square" lIns="179285" tIns="143428" rIns="179285" bIns="143428" rtlCol="0">
                  <a:spAutoFit/>
                </a:bodyPr>
                <a:lstStyle/>
                <a:p>
                  <a:pPr defTabSz="914133">
                    <a:lnSpc>
                      <a:spcPct val="90000"/>
                    </a:lnSpc>
                  </a:pPr>
                  <a:r>
                    <a:rPr lang="en-US" sz="980" spc="-49" dirty="0">
                      <a:solidFill>
                        <a:srgbClr val="00188F"/>
                      </a:solidFill>
                      <a:ea typeface="Segoe UI" panose="020B0502040204020203" pitchFamily="34" charset="0"/>
                      <a:cs typeface="Segoe UI" panose="020B0502040204020203" pitchFamily="34" charset="0"/>
                    </a:rPr>
                    <a:t>SharePoint</a:t>
                  </a:r>
                </a:p>
              </p:txBody>
            </p:sp>
            <p:sp>
              <p:nvSpPr>
                <p:cNvPr id="80" name="TextBox 79"/>
                <p:cNvSpPr txBox="1"/>
                <p:nvPr/>
              </p:nvSpPr>
              <p:spPr>
                <a:xfrm>
                  <a:off x="10239450" y="2611220"/>
                  <a:ext cx="743641" cy="572464"/>
                </a:xfrm>
                <a:prstGeom prst="rect">
                  <a:avLst/>
                </a:prstGeom>
                <a:noFill/>
                <a:ln>
                  <a:noFill/>
                </a:ln>
              </p:spPr>
              <p:txBody>
                <a:bodyPr wrap="square" lIns="179285" tIns="143428" rIns="179285" bIns="143428" rtlCol="0">
                  <a:spAutoFit/>
                </a:bodyPr>
                <a:lstStyle/>
                <a:p>
                  <a:pPr defTabSz="914133">
                    <a:lnSpc>
                      <a:spcPct val="90000"/>
                    </a:lnSpc>
                  </a:pPr>
                  <a:r>
                    <a:rPr lang="en-US" sz="980" spc="-49" dirty="0">
                      <a:solidFill>
                        <a:srgbClr val="00188F"/>
                      </a:solidFill>
                      <a:ea typeface="Segoe UI" panose="020B0502040204020203" pitchFamily="34" charset="0"/>
                      <a:cs typeface="Segoe UI" panose="020B0502040204020203" pitchFamily="34" charset="0"/>
                    </a:rPr>
                    <a:t>SQL </a:t>
                  </a:r>
                  <a:br>
                    <a:rPr lang="en-US" sz="980" spc="-49" dirty="0">
                      <a:solidFill>
                        <a:srgbClr val="00188F"/>
                      </a:solidFill>
                      <a:ea typeface="Segoe UI" panose="020B0502040204020203" pitchFamily="34" charset="0"/>
                      <a:cs typeface="Segoe UI" panose="020B0502040204020203" pitchFamily="34" charset="0"/>
                    </a:rPr>
                  </a:br>
                  <a:r>
                    <a:rPr lang="en-US" sz="980" spc="-49" dirty="0">
                      <a:solidFill>
                        <a:srgbClr val="00188F"/>
                      </a:solidFill>
                      <a:ea typeface="Segoe UI" panose="020B0502040204020203" pitchFamily="34" charset="0"/>
                      <a:cs typeface="Segoe UI" panose="020B0502040204020203" pitchFamily="34" charset="0"/>
                    </a:rPr>
                    <a:t>Server</a:t>
                  </a:r>
                </a:p>
              </p:txBody>
            </p:sp>
          </p:grpSp>
          <p:sp>
            <p:nvSpPr>
              <p:cNvPr id="101" name="TextBox 100"/>
              <p:cNvSpPr txBox="1"/>
              <p:nvPr/>
            </p:nvSpPr>
            <p:spPr>
              <a:xfrm>
                <a:off x="9784293" y="1394757"/>
                <a:ext cx="1189912" cy="683264"/>
              </a:xfrm>
              <a:prstGeom prst="rect">
                <a:avLst/>
              </a:prstGeom>
              <a:noFill/>
            </p:spPr>
            <p:txBody>
              <a:bodyPr wrap="square" lIns="179285" tIns="143428" rIns="179285" bIns="143428" rtlCol="0">
                <a:spAutoFit/>
              </a:bodyPr>
              <a:lstStyle/>
              <a:p>
                <a:pPr defTabSz="914133">
                  <a:lnSpc>
                    <a:spcPct val="90000"/>
                  </a:lnSpc>
                </a:pPr>
                <a:r>
                  <a:rPr lang="en-US" sz="1372" spc="-49" dirty="0">
                    <a:solidFill>
                      <a:srgbClr val="00188F"/>
                    </a:solidFill>
                  </a:rPr>
                  <a:t>Windows Azure</a:t>
                </a:r>
              </a:p>
            </p:txBody>
          </p:sp>
        </p:grpSp>
        <p:sp>
          <p:nvSpPr>
            <p:cNvPr id="111" name="Freeform 24"/>
            <p:cNvSpPr>
              <a:spLocks noEditPoints="1"/>
            </p:cNvSpPr>
            <p:nvPr/>
          </p:nvSpPr>
          <p:spPr bwMode="black">
            <a:xfrm>
              <a:off x="10749279" y="1823092"/>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13" name="Freeform 24"/>
            <p:cNvSpPr>
              <a:spLocks noEditPoints="1"/>
            </p:cNvSpPr>
            <p:nvPr/>
          </p:nvSpPr>
          <p:spPr bwMode="black">
            <a:xfrm>
              <a:off x="11136818" y="2423998"/>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grpSp>
    </p:spTree>
    <p:extLst>
      <p:ext uri="{BB962C8B-B14F-4D97-AF65-F5344CB8AC3E}">
        <p14:creationId xmlns:p14="http://schemas.microsoft.com/office/powerpoint/2010/main" val="421755480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02751" y="2608711"/>
            <a:ext cx="3573422" cy="553998"/>
          </a:xfrm>
        </p:spPr>
        <p:txBody>
          <a:bodyPr/>
          <a:lstStyle/>
          <a:p>
            <a:pPr algn="r"/>
            <a:r>
              <a:rPr lang="zh-TW" altLang="en-US" sz="4000" dirty="0">
                <a:solidFill>
                  <a:schemeClr val="accent1">
                    <a:lumMod val="20000"/>
                    <a:lumOff val="80000"/>
                  </a:schemeClr>
                </a:solidFill>
              </a:rPr>
              <a:t>其他應用</a:t>
            </a:r>
            <a:endParaRPr lang="en-US" sz="4000" dirty="0">
              <a:solidFill>
                <a:schemeClr val="accent1">
                  <a:lumMod val="20000"/>
                  <a:lumOff val="80000"/>
                </a:schemeClr>
              </a:solidFill>
            </a:endParaRPr>
          </a:p>
        </p:txBody>
      </p:sp>
      <p:grpSp>
        <p:nvGrpSpPr>
          <p:cNvPr id="37" name="Group 36"/>
          <p:cNvGrpSpPr/>
          <p:nvPr/>
        </p:nvGrpSpPr>
        <p:grpSpPr>
          <a:xfrm>
            <a:off x="5780910" y="622717"/>
            <a:ext cx="1422788" cy="1772642"/>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sz="2000" dirty="0">
                  <a:gradFill>
                    <a:gsLst>
                      <a:gs pos="0">
                        <a:srgbClr val="FFFFFF"/>
                      </a:gs>
                      <a:gs pos="100000">
                        <a:srgbClr val="FFFFFF"/>
                      </a:gs>
                    </a:gsLst>
                    <a:lin ang="5400000" scaled="0"/>
                  </a:gradFill>
                </a:rPr>
                <a:t>儲存體</a:t>
              </a:r>
              <a:endParaRPr lang="en-US" sz="2000" dirty="0">
                <a:gradFill>
                  <a:gsLst>
                    <a:gs pos="0">
                      <a:srgbClr val="FFFFFF"/>
                    </a:gs>
                    <a:gs pos="100000">
                      <a:srgbClr val="FFFFFF"/>
                    </a:gs>
                  </a:gsLst>
                  <a:lin ang="5400000" scaled="0"/>
                </a:gradFill>
              </a:endParaRPr>
            </a:p>
          </p:txBody>
        </p:sp>
        <p:pic>
          <p:nvPicPr>
            <p:cNvPr id="1026" name="Picture 2" descr="C:\Users\Jonahs\Dropbox\Projects SCOTT\MEET Windows Azure\source\Background\tile-icon-storage.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88310" y="2820122"/>
              <a:ext cx="851488" cy="7830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2827596" y="622717"/>
            <a:ext cx="1422788" cy="1772642"/>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sz="2400"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08454" y="1039623"/>
              <a:ext cx="851488" cy="7127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780592" y="2467965"/>
            <a:ext cx="1422788" cy="1772642"/>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sz="2000" dirty="0">
                  <a:gradFill>
                    <a:gsLst>
                      <a:gs pos="0">
                        <a:srgbClr val="FFFFFF"/>
                      </a:gs>
                      <a:gs pos="100000">
                        <a:srgbClr val="FFFFFF"/>
                      </a:gs>
                    </a:gsLst>
                    <a:lin ang="5400000" scaled="0"/>
                  </a:gradFill>
                </a:rPr>
                <a:t>快取</a:t>
              </a:r>
              <a:endParaRPr lang="en-US" sz="2000" dirty="0">
                <a:gradFill>
                  <a:gsLst>
                    <a:gs pos="0">
                      <a:srgbClr val="FFFFFF"/>
                    </a:gs>
                    <a:gs pos="100000">
                      <a:srgbClr val="FFFFFF"/>
                    </a:gs>
                  </a:gsLst>
                  <a:lin ang="5400000" scaled="0"/>
                </a:gradFill>
              </a:endParaRPr>
            </a:p>
          </p:txBody>
        </p:sp>
        <p:pic>
          <p:nvPicPr>
            <p:cNvPr id="1028" name="Picture 4" descr="C:\Users\Jonahs\Dropbox\Projects SCOTT\MEET Windows Azure\source\Background\tile-icon-cache.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57613" y="4625410"/>
              <a:ext cx="1123977"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780592" y="4315831"/>
            <a:ext cx="1422788" cy="1772642"/>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dirty="0">
                  <a:gradFill>
                    <a:gsLst>
                      <a:gs pos="0">
                        <a:srgbClr val="FFFFFF"/>
                      </a:gs>
                      <a:gs pos="100000">
                        <a:srgbClr val="FFFFFF"/>
                      </a:gs>
                    </a:gsLst>
                    <a:lin ang="5400000" scaled="0"/>
                  </a:gradFill>
                </a:rPr>
                <a:t>行動服務</a:t>
              </a:r>
              <a:endParaRPr lang="en-US" dirty="0">
                <a:gradFill>
                  <a:gsLst>
                    <a:gs pos="0">
                      <a:srgbClr val="FFFFFF"/>
                    </a:gs>
                    <a:gs pos="100000">
                      <a:srgbClr val="FFFFFF"/>
                    </a:gs>
                  </a:gsLst>
                  <a:lin ang="5400000" scaled="0"/>
                </a:gradFill>
              </a:endParaRPr>
            </a:p>
          </p:txBody>
        </p:sp>
        <p:pic>
          <p:nvPicPr>
            <p:cNvPr id="1029" name="Picture 5" descr="C:\Users\Jonahs\Dropbox\Projects SCOTT\MEET Windows Azure\source\Background\tile-icon-CDN.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123659" y="4633694"/>
              <a:ext cx="987734"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4304095" y="622717"/>
            <a:ext cx="1422788" cy="1772642"/>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sz="2000" dirty="0">
                  <a:gradFill>
                    <a:gsLst>
                      <a:gs pos="0">
                        <a:srgbClr val="FFFFFF"/>
                      </a:gs>
                      <a:gs pos="100000">
                        <a:srgbClr val="FFFFFF"/>
                      </a:gs>
                    </a:gsLst>
                    <a:lin ang="5400000" scaled="0"/>
                  </a:gradFill>
                </a:rPr>
                <a:t>資料庫</a:t>
              </a:r>
              <a:endParaRPr lang="en-US" sz="2000" dirty="0">
                <a:gradFill>
                  <a:gsLst>
                    <a:gs pos="0">
                      <a:srgbClr val="FFFFFF"/>
                    </a:gs>
                    <a:gs pos="100000">
                      <a:srgbClr val="FFFFFF"/>
                    </a:gs>
                  </a:gsLst>
                  <a:lin ang="5400000" scaled="0"/>
                </a:gradFill>
              </a:endParaRPr>
            </a:p>
          </p:txBody>
        </p:sp>
        <p:pic>
          <p:nvPicPr>
            <p:cNvPr id="1030" name="Picture 6" descr="C:\Users\Jonahs\Dropbox\Projects SCOTT\MEET Windows Azure\source\Background\tile-icon-database.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193858" y="1065497"/>
              <a:ext cx="851488" cy="5740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8747166" y="2467965"/>
            <a:ext cx="1422788" cy="1772642"/>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sz="2000" dirty="0">
                  <a:gradFill>
                    <a:gsLst>
                      <a:gs pos="0">
                        <a:srgbClr val="FFFFFF"/>
                      </a:gs>
                      <a:gs pos="100000">
                        <a:srgbClr val="FFFFFF"/>
                      </a:gs>
                    </a:gsLst>
                    <a:lin ang="5400000" scaled="0"/>
                  </a:gradFill>
                </a:rPr>
                <a:t>身分驗證</a:t>
              </a:r>
              <a:endParaRPr lang="en-US" sz="2000" dirty="0">
                <a:gradFill>
                  <a:gsLst>
                    <a:gs pos="0">
                      <a:srgbClr val="FFFFFF"/>
                    </a:gs>
                    <a:gs pos="100000">
                      <a:srgbClr val="FFFFFF"/>
                    </a:gs>
                  </a:gsLst>
                  <a:lin ang="5400000" scaled="0"/>
                </a:gradFill>
              </a:endParaRPr>
            </a:p>
          </p:txBody>
        </p:sp>
        <p:pic>
          <p:nvPicPr>
            <p:cNvPr id="1031" name="Picture 7" descr="C:\Users\Jonahs\Dropbox\Projects SCOTT\MEET Windows Azure\source\Background\tile-icon-identity.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327803" y="2760292"/>
              <a:ext cx="772495"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4304095" y="4315831"/>
            <a:ext cx="1422788" cy="1772642"/>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sz="2000" dirty="0">
                  <a:gradFill>
                    <a:gsLst>
                      <a:gs pos="0">
                        <a:srgbClr val="FFFFFF"/>
                      </a:gs>
                      <a:gs pos="100000">
                        <a:srgbClr val="FFFFFF"/>
                      </a:gs>
                    </a:gsLst>
                    <a:lin ang="5400000" scaled="0"/>
                  </a:gradFill>
                </a:rPr>
                <a:t>影音媒體</a:t>
              </a:r>
              <a:endParaRPr lang="en-US" sz="2000" dirty="0">
                <a:gradFill>
                  <a:gsLst>
                    <a:gs pos="0">
                      <a:srgbClr val="FFFFFF"/>
                    </a:gs>
                    <a:gs pos="100000">
                      <a:srgbClr val="FFFFFF"/>
                    </a:gs>
                  </a:gsLst>
                  <a:lin ang="5400000" scaled="0"/>
                </a:gradFill>
              </a:endParaRPr>
            </a:p>
          </p:txBody>
        </p:sp>
        <p:pic>
          <p:nvPicPr>
            <p:cNvPr id="1032" name="Picture 8" descr="C:\Users\Jonahs\Dropbox\Projects SCOTT\MEET Windows Azure\source\Background\tile-icon-media.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007419" y="926787"/>
              <a:ext cx="1103971"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263880" y="2466267"/>
            <a:ext cx="1422788" cy="1772642"/>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dirty="0">
                  <a:gradFill>
                    <a:gsLst>
                      <a:gs pos="0">
                        <a:srgbClr val="FFFFFF"/>
                      </a:gs>
                      <a:gs pos="100000">
                        <a:srgbClr val="FFFFFF"/>
                      </a:gs>
                    </a:gsLst>
                    <a:lin ang="5400000" scaled="0"/>
                  </a:gradFill>
                </a:rPr>
                <a:t>服務匯流排</a:t>
              </a:r>
              <a:endParaRPr lang="en-US" dirty="0">
                <a:gradFill>
                  <a:gsLst>
                    <a:gs pos="0">
                      <a:srgbClr val="FFFFFF"/>
                    </a:gs>
                    <a:gs pos="100000">
                      <a:srgbClr val="FFFFFF"/>
                    </a:gs>
                  </a:gsLst>
                  <a:lin ang="5400000" scaled="0"/>
                </a:gradFill>
              </a:endParaRPr>
            </a:p>
          </p:txBody>
        </p:sp>
        <p:pic>
          <p:nvPicPr>
            <p:cNvPr id="1033" name="Picture 9" descr="C:\Users\Jonahs\Dropbox\Projects SCOTT\MEET Windows Azure\source\Background\tile-icon-messaging.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252705" y="2885710"/>
              <a:ext cx="772495" cy="6313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263879" y="4315831"/>
            <a:ext cx="1422788" cy="1772642"/>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dirty="0">
                  <a:gradFill>
                    <a:gsLst>
                      <a:gs pos="0">
                        <a:srgbClr val="FFFFFF"/>
                      </a:gs>
                      <a:gs pos="100000">
                        <a:srgbClr val="FFFFFF"/>
                      </a:gs>
                    </a:gsLst>
                    <a:lin ang="5400000" scaled="0"/>
                  </a:gradFill>
                </a:rPr>
                <a:t>網路整合</a:t>
              </a:r>
              <a:endParaRPr lang="en-US" dirty="0">
                <a:gradFill>
                  <a:gsLst>
                    <a:gs pos="0">
                      <a:srgbClr val="FFFFFF"/>
                    </a:gs>
                    <a:gs pos="100000">
                      <a:srgbClr val="FFFFFF"/>
                    </a:gs>
                  </a:gsLst>
                  <a:lin ang="5400000" scaled="0"/>
                </a:gradFill>
              </a:endParaRPr>
            </a:p>
          </p:txBody>
        </p:sp>
        <p:pic>
          <p:nvPicPr>
            <p:cNvPr id="1034" name="Picture 10" descr="C:\Users\Jonahs\Dropbox\Projects SCOTT\MEET Windows Azure\source\Background\tile-icon-network.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270014" y="622717"/>
            <a:ext cx="1422788" cy="1772642"/>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zh-TW" altLang="en-US" sz="2000" dirty="0">
                  <a:gradFill>
                    <a:gsLst>
                      <a:gs pos="0">
                        <a:srgbClr val="FFFFFF"/>
                      </a:gs>
                      <a:gs pos="100000">
                        <a:srgbClr val="FFFFFF"/>
                      </a:gs>
                    </a:gsLst>
                    <a:lin ang="5400000" scaled="0"/>
                  </a:gradFill>
                </a:rPr>
                <a:t>流量管理</a:t>
              </a:r>
              <a:endParaRPr lang="en-US" sz="2000" dirty="0">
                <a:gradFill>
                  <a:gsLst>
                    <a:gs pos="0">
                      <a:srgbClr val="FFFFFF"/>
                    </a:gs>
                    <a:gs pos="100000">
                      <a:srgbClr val="FFFFFF"/>
                    </a:gs>
                  </a:gsLst>
                  <a:lin ang="5400000" scaled="0"/>
                </a:gradFill>
              </a:endParaRPr>
            </a:p>
          </p:txBody>
        </p:sp>
        <p:pic>
          <p:nvPicPr>
            <p:cNvPr id="33" name="Picture 2"/>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6180132" y="2909051"/>
              <a:ext cx="851488" cy="62564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193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86381"/>
            <a:ext cx="11151917" cy="794064"/>
          </a:xfrm>
        </p:spPr>
        <p:txBody>
          <a:bodyPr/>
          <a:lstStyle/>
          <a:p>
            <a:r>
              <a:rPr lang="en-US" altLang="zh-TW" sz="4400" dirty="0" smtClean="0"/>
              <a:t>Windows </a:t>
            </a:r>
            <a:r>
              <a:rPr lang="en-US" altLang="zh-TW" sz="4400" dirty="0"/>
              <a:t>Azure </a:t>
            </a:r>
            <a:r>
              <a:rPr lang="en-US" altLang="zh-TW" sz="4400" dirty="0" smtClean="0"/>
              <a:t>Pack</a:t>
            </a:r>
            <a:r>
              <a:rPr lang="zh-TW" altLang="en-US" sz="4400" dirty="0" smtClean="0"/>
              <a:t>可快速建立自助雲端平台</a:t>
            </a:r>
            <a:endParaRPr lang="zh-TW" altLang="en-US" sz="4400" dirty="0"/>
          </a:p>
        </p:txBody>
      </p:sp>
      <p:sp>
        <p:nvSpPr>
          <p:cNvPr id="4" name="Footer Placeholder 3"/>
          <p:cNvSpPr>
            <a:spLocks noGrp="1"/>
          </p:cNvSpPr>
          <p:nvPr>
            <p:ph type="ftr" sz="quarter" idx="3"/>
          </p:nvPr>
        </p:nvSpPr>
        <p:spPr/>
        <p:txBody>
          <a:bodyPr/>
          <a:lstStyle/>
          <a:p>
            <a:pPr defTabSz="914133"/>
            <a:r>
              <a:rPr lang="en-US" smtClean="0"/>
              <a:t>T-SQL Enhancements in SQL Server 2012</a:t>
            </a:r>
            <a:endParaRPr lang="en-US" dirty="0"/>
          </a:p>
        </p:txBody>
      </p:sp>
      <p:sp>
        <p:nvSpPr>
          <p:cNvPr id="5" name="Slide Number Placeholder 4"/>
          <p:cNvSpPr>
            <a:spLocks noGrp="1"/>
          </p:cNvSpPr>
          <p:nvPr>
            <p:ph type="sldNum" sz="quarter" idx="4"/>
          </p:nvPr>
        </p:nvSpPr>
        <p:spPr/>
        <p:txBody>
          <a:bodyPr/>
          <a:lstStyle/>
          <a:p>
            <a:pPr defTabSz="914133"/>
            <a:fld id="{87FD5303-69AD-2E4D-B18B-E5EED0F0A60B}" type="slidenum">
              <a:rPr lang="en-US" smtClean="0"/>
              <a:pPr defTabSz="914133"/>
              <a:t>16</a:t>
            </a:fld>
            <a:r>
              <a:rPr lang="en-US" smtClean="0"/>
              <a:t>  |  </a:t>
            </a:r>
            <a:endParaRPr lang="en-US" dirty="0"/>
          </a:p>
        </p:txBody>
      </p:sp>
      <p:grpSp>
        <p:nvGrpSpPr>
          <p:cNvPr id="6" name="Group 5"/>
          <p:cNvGrpSpPr/>
          <p:nvPr/>
        </p:nvGrpSpPr>
        <p:grpSpPr>
          <a:xfrm>
            <a:off x="5957990" y="1388173"/>
            <a:ext cx="4942221" cy="3066344"/>
            <a:chOff x="4276550" y="2200795"/>
            <a:chExt cx="6697759" cy="4155547"/>
          </a:xfrm>
        </p:grpSpPr>
        <p:sp>
          <p:nvSpPr>
            <p:cNvPr id="7" name="Freeform 10"/>
            <p:cNvSpPr>
              <a:spLocks noChangeAspect="1"/>
            </p:cNvSpPr>
            <p:nvPr/>
          </p:nvSpPr>
          <p:spPr bwMode="auto">
            <a:xfrm>
              <a:off x="4276550" y="2200795"/>
              <a:ext cx="6697759" cy="4155547"/>
            </a:xfrm>
            <a:custGeom>
              <a:avLst/>
              <a:gdLst>
                <a:gd name="T0" fmla="*/ 290 w 341"/>
                <a:gd name="T1" fmla="*/ 208 h 210"/>
                <a:gd name="T2" fmla="*/ 341 w 341"/>
                <a:gd name="T3" fmla="*/ 139 h 210"/>
                <a:gd name="T4" fmla="*/ 275 w 341"/>
                <a:gd name="T5" fmla="*/ 75 h 210"/>
                <a:gd name="T6" fmla="*/ 205 w 341"/>
                <a:gd name="T7" fmla="*/ 0 h 210"/>
                <a:gd name="T8" fmla="*/ 142 w 341"/>
                <a:gd name="T9" fmla="*/ 37 h 210"/>
                <a:gd name="T10" fmla="*/ 75 w 341"/>
                <a:gd name="T11" fmla="*/ 37 h 210"/>
                <a:gd name="T12" fmla="*/ 39 w 341"/>
                <a:gd name="T13" fmla="*/ 103 h 210"/>
                <a:gd name="T14" fmla="*/ 0 w 341"/>
                <a:gd name="T15" fmla="*/ 157 h 210"/>
                <a:gd name="T16" fmla="*/ 34 w 341"/>
                <a:gd name="T17" fmla="*/ 208 h 210"/>
                <a:gd name="T18" fmla="*/ 290 w 341"/>
                <a:gd name="T19"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210">
                  <a:moveTo>
                    <a:pt x="290" y="208"/>
                  </a:moveTo>
                  <a:cubicBezTo>
                    <a:pt x="290" y="208"/>
                    <a:pt x="341" y="210"/>
                    <a:pt x="341" y="139"/>
                  </a:cubicBezTo>
                  <a:cubicBezTo>
                    <a:pt x="341" y="70"/>
                    <a:pt x="275" y="75"/>
                    <a:pt x="275" y="75"/>
                  </a:cubicBezTo>
                  <a:cubicBezTo>
                    <a:pt x="285" y="43"/>
                    <a:pt x="247" y="0"/>
                    <a:pt x="205" y="0"/>
                  </a:cubicBezTo>
                  <a:cubicBezTo>
                    <a:pt x="155" y="0"/>
                    <a:pt x="142" y="37"/>
                    <a:pt x="142" y="37"/>
                  </a:cubicBezTo>
                  <a:cubicBezTo>
                    <a:pt x="142" y="37"/>
                    <a:pt x="113" y="20"/>
                    <a:pt x="75" y="37"/>
                  </a:cubicBezTo>
                  <a:cubicBezTo>
                    <a:pt x="36" y="53"/>
                    <a:pt x="39" y="103"/>
                    <a:pt x="39" y="103"/>
                  </a:cubicBezTo>
                  <a:cubicBezTo>
                    <a:pt x="39" y="103"/>
                    <a:pt x="0" y="113"/>
                    <a:pt x="0" y="157"/>
                  </a:cubicBezTo>
                  <a:cubicBezTo>
                    <a:pt x="1" y="202"/>
                    <a:pt x="34" y="208"/>
                    <a:pt x="34" y="208"/>
                  </a:cubicBezTo>
                  <a:cubicBezTo>
                    <a:pt x="34" y="208"/>
                    <a:pt x="34" y="208"/>
                    <a:pt x="290" y="208"/>
                  </a:cubicBezTo>
                  <a:close/>
                </a:path>
              </a:pathLst>
            </a:custGeom>
            <a:solidFill>
              <a:srgbClr val="92D050">
                <a:alpha val="70000"/>
              </a:srgbClr>
            </a:solidFill>
            <a:ln w="31750">
              <a:solidFill>
                <a:srgbClr val="008272">
                  <a:lumMod val="75000"/>
                </a:srgbClr>
              </a:solidFill>
            </a:ln>
          </p:spPr>
          <p:txBody>
            <a:bodyPr vert="horz" wrap="square" lIns="89582" tIns="806240" rIns="89582" bIns="44793" numCol="1" anchor="t" anchorCtr="0" compatLnSpc="1">
              <a:prstTxWarp prst="textNoShape">
                <a:avLst/>
              </a:prstTxWarp>
            </a:bodyPr>
            <a:lstStyle/>
            <a:p>
              <a:pPr algn="ctr" defTabSz="896042">
                <a:defRPr/>
              </a:pPr>
              <a:endParaRPr lang="en-US" sz="3919" kern="0" dirty="0" smtClean="0">
                <a:gradFill>
                  <a:gsLst>
                    <a:gs pos="0">
                      <a:srgbClr val="00BCF2"/>
                    </a:gs>
                    <a:gs pos="100000">
                      <a:srgbClr val="00BCF2"/>
                    </a:gs>
                  </a:gsLst>
                  <a:lin ang="2700000" scaled="1"/>
                </a:gradFill>
                <a:ea typeface="Segoe UI" pitchFamily="34" charset="0"/>
                <a:cs typeface="Segoe UI" pitchFamily="34" charset="0"/>
              </a:endParaRPr>
            </a:p>
          </p:txBody>
        </p:sp>
        <p:sp>
          <p:nvSpPr>
            <p:cNvPr id="8" name="TextBox 7"/>
            <p:cNvSpPr txBox="1"/>
            <p:nvPr/>
          </p:nvSpPr>
          <p:spPr>
            <a:xfrm>
              <a:off x="8472414" y="5631447"/>
              <a:ext cx="1642341" cy="600627"/>
            </a:xfrm>
            <a:prstGeom prst="rect">
              <a:avLst/>
            </a:prstGeom>
            <a:noFill/>
          </p:spPr>
          <p:txBody>
            <a:bodyPr wrap="none" lIns="0" tIns="0" rIns="0" bIns="0" rtlCol="0">
              <a:spAutoFit/>
            </a:bodyPr>
            <a:lstStyle/>
            <a:p>
              <a:pPr defTabSz="914049">
                <a:lnSpc>
                  <a:spcPct val="90000"/>
                </a:lnSpc>
                <a:defRPr/>
              </a:pPr>
              <a:r>
                <a:rPr lang="zh-TW" altLang="en-US" sz="3200" kern="0" spc="-50" dirty="0" smtClean="0">
                  <a:solidFill>
                    <a:srgbClr val="CCFF99"/>
                  </a:solidFill>
                </a:rPr>
                <a:t>私有雲</a:t>
              </a:r>
            </a:p>
          </p:txBody>
        </p:sp>
      </p:grpSp>
      <p:pic>
        <p:nvPicPr>
          <p:cNvPr id="9" name="Picture 28" descr="Server-Virtual-Single"/>
          <p:cNvPicPr>
            <a:picLocks noChangeAspect="1" noChangeArrowheads="1"/>
          </p:cNvPicPr>
          <p:nvPr/>
        </p:nvPicPr>
        <p:blipFill>
          <a:blip r:embed="rId2"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ltGray">
          <a:xfrm>
            <a:off x="7716447" y="2630167"/>
            <a:ext cx="1599746" cy="1212506"/>
          </a:xfrm>
          <a:prstGeom prst="rect">
            <a:avLst/>
          </a:prstGeom>
          <a:noFill/>
          <a:ln w="9525">
            <a:noFill/>
            <a:miter lim="800000"/>
            <a:headEnd/>
            <a:tailEnd/>
          </a:ln>
        </p:spPr>
      </p:pic>
      <p:pic>
        <p:nvPicPr>
          <p:cNvPr id="10" name="Picture 28" descr="Server-Virtual-Single"/>
          <p:cNvPicPr>
            <a:picLocks noChangeAspect="1" noChangeArrowheads="1"/>
          </p:cNvPicPr>
          <p:nvPr/>
        </p:nvPicPr>
        <p:blipFill>
          <a:blip r:embed="rId2"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ltGray">
          <a:xfrm>
            <a:off x="7739138" y="2231961"/>
            <a:ext cx="1599746" cy="1212506"/>
          </a:xfrm>
          <a:prstGeom prst="rect">
            <a:avLst/>
          </a:prstGeom>
          <a:noFill/>
          <a:ln w="9525">
            <a:noFill/>
            <a:miter lim="800000"/>
            <a:headEnd/>
            <a:tailEnd/>
          </a:ln>
        </p:spPr>
      </p:pic>
      <p:pic>
        <p:nvPicPr>
          <p:cNvPr id="11" name="Picture 28" descr="Server-Virtual-Single"/>
          <p:cNvPicPr>
            <a:picLocks noChangeAspect="1" noChangeArrowheads="1"/>
          </p:cNvPicPr>
          <p:nvPr/>
        </p:nvPicPr>
        <p:blipFill>
          <a:blip r:embed="rId2"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ltGray">
          <a:xfrm>
            <a:off x="7761829" y="1821241"/>
            <a:ext cx="1599746" cy="1212506"/>
          </a:xfrm>
          <a:prstGeom prst="rect">
            <a:avLst/>
          </a:prstGeom>
          <a:noFill/>
          <a:ln w="9525">
            <a:noFill/>
            <a:miter lim="800000"/>
            <a:headEnd/>
            <a:tailEnd/>
          </a:ln>
        </p:spPr>
      </p:pic>
      <p:grpSp>
        <p:nvGrpSpPr>
          <p:cNvPr id="12" name="Group 11"/>
          <p:cNvGrpSpPr/>
          <p:nvPr/>
        </p:nvGrpSpPr>
        <p:grpSpPr>
          <a:xfrm>
            <a:off x="812889" y="1388172"/>
            <a:ext cx="4942224" cy="3066345"/>
            <a:chOff x="927668" y="2198914"/>
            <a:chExt cx="6700793" cy="4157429"/>
          </a:xfrm>
        </p:grpSpPr>
        <p:sp>
          <p:nvSpPr>
            <p:cNvPr id="13" name="Freeform 10"/>
            <p:cNvSpPr>
              <a:spLocks noChangeAspect="1"/>
            </p:cNvSpPr>
            <p:nvPr/>
          </p:nvSpPr>
          <p:spPr bwMode="auto">
            <a:xfrm>
              <a:off x="927668" y="2198914"/>
              <a:ext cx="6700793" cy="4157429"/>
            </a:xfrm>
            <a:custGeom>
              <a:avLst/>
              <a:gdLst>
                <a:gd name="T0" fmla="*/ 290 w 341"/>
                <a:gd name="T1" fmla="*/ 208 h 210"/>
                <a:gd name="T2" fmla="*/ 341 w 341"/>
                <a:gd name="T3" fmla="*/ 139 h 210"/>
                <a:gd name="T4" fmla="*/ 275 w 341"/>
                <a:gd name="T5" fmla="*/ 75 h 210"/>
                <a:gd name="T6" fmla="*/ 205 w 341"/>
                <a:gd name="T7" fmla="*/ 0 h 210"/>
                <a:gd name="T8" fmla="*/ 142 w 341"/>
                <a:gd name="T9" fmla="*/ 37 h 210"/>
                <a:gd name="T10" fmla="*/ 75 w 341"/>
                <a:gd name="T11" fmla="*/ 37 h 210"/>
                <a:gd name="T12" fmla="*/ 39 w 341"/>
                <a:gd name="T13" fmla="*/ 103 h 210"/>
                <a:gd name="T14" fmla="*/ 0 w 341"/>
                <a:gd name="T15" fmla="*/ 157 h 210"/>
                <a:gd name="T16" fmla="*/ 34 w 341"/>
                <a:gd name="T17" fmla="*/ 208 h 210"/>
                <a:gd name="T18" fmla="*/ 290 w 341"/>
                <a:gd name="T19" fmla="*/ 20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1" h="210">
                  <a:moveTo>
                    <a:pt x="290" y="208"/>
                  </a:moveTo>
                  <a:cubicBezTo>
                    <a:pt x="290" y="208"/>
                    <a:pt x="341" y="210"/>
                    <a:pt x="341" y="139"/>
                  </a:cubicBezTo>
                  <a:cubicBezTo>
                    <a:pt x="341" y="70"/>
                    <a:pt x="275" y="75"/>
                    <a:pt x="275" y="75"/>
                  </a:cubicBezTo>
                  <a:cubicBezTo>
                    <a:pt x="285" y="43"/>
                    <a:pt x="247" y="0"/>
                    <a:pt x="205" y="0"/>
                  </a:cubicBezTo>
                  <a:cubicBezTo>
                    <a:pt x="155" y="0"/>
                    <a:pt x="142" y="37"/>
                    <a:pt x="142" y="37"/>
                  </a:cubicBezTo>
                  <a:cubicBezTo>
                    <a:pt x="142" y="37"/>
                    <a:pt x="113" y="20"/>
                    <a:pt x="75" y="37"/>
                  </a:cubicBezTo>
                  <a:cubicBezTo>
                    <a:pt x="36" y="53"/>
                    <a:pt x="39" y="103"/>
                    <a:pt x="39" y="103"/>
                  </a:cubicBezTo>
                  <a:cubicBezTo>
                    <a:pt x="39" y="103"/>
                    <a:pt x="0" y="113"/>
                    <a:pt x="0" y="157"/>
                  </a:cubicBezTo>
                  <a:cubicBezTo>
                    <a:pt x="1" y="202"/>
                    <a:pt x="34" y="208"/>
                    <a:pt x="34" y="208"/>
                  </a:cubicBezTo>
                  <a:cubicBezTo>
                    <a:pt x="34" y="208"/>
                    <a:pt x="34" y="208"/>
                    <a:pt x="290" y="208"/>
                  </a:cubicBezTo>
                  <a:close/>
                </a:path>
              </a:pathLst>
            </a:custGeom>
            <a:solidFill>
              <a:srgbClr val="00B0F0">
                <a:alpha val="68000"/>
              </a:srgbClr>
            </a:solidFill>
            <a:ln w="31750">
              <a:solidFill>
                <a:srgbClr val="0070C0"/>
              </a:solidFill>
            </a:ln>
          </p:spPr>
          <p:txBody>
            <a:bodyPr vert="horz" wrap="square" lIns="89582" tIns="806240" rIns="89582" bIns="44793" numCol="1" anchor="t" anchorCtr="0" compatLnSpc="1">
              <a:prstTxWarp prst="textNoShape">
                <a:avLst/>
              </a:prstTxWarp>
            </a:bodyPr>
            <a:lstStyle/>
            <a:p>
              <a:pPr algn="ctr" defTabSz="896042">
                <a:defRPr/>
              </a:pPr>
              <a:endParaRPr lang="en-US" sz="3919" kern="0" dirty="0" smtClean="0">
                <a:gradFill>
                  <a:gsLst>
                    <a:gs pos="0">
                      <a:srgbClr val="00BCF2"/>
                    </a:gs>
                    <a:gs pos="100000">
                      <a:srgbClr val="00BCF2"/>
                    </a:gs>
                  </a:gsLst>
                  <a:lin ang="2700000" scaled="1"/>
                </a:gradFill>
                <a:ea typeface="Segoe UI" pitchFamily="34" charset="0"/>
                <a:cs typeface="Segoe UI" pitchFamily="34" charset="0"/>
              </a:endParaRPr>
            </a:p>
          </p:txBody>
        </p:sp>
        <p:sp>
          <p:nvSpPr>
            <p:cNvPr id="14" name="TextBox 13"/>
            <p:cNvSpPr txBox="1"/>
            <p:nvPr/>
          </p:nvSpPr>
          <p:spPr>
            <a:xfrm>
              <a:off x="1589118" y="5623865"/>
              <a:ext cx="1643084" cy="600899"/>
            </a:xfrm>
            <a:prstGeom prst="rect">
              <a:avLst/>
            </a:prstGeom>
            <a:noFill/>
          </p:spPr>
          <p:txBody>
            <a:bodyPr wrap="none" lIns="0" tIns="0" rIns="0" bIns="0" rtlCol="0">
              <a:spAutoFit/>
            </a:bodyPr>
            <a:lstStyle/>
            <a:p>
              <a:pPr defTabSz="914049">
                <a:lnSpc>
                  <a:spcPct val="90000"/>
                </a:lnSpc>
                <a:defRPr/>
              </a:pPr>
              <a:r>
                <a:rPr lang="zh-TW" altLang="en-US" sz="3200" kern="0" spc="-50" dirty="0" smtClean="0">
                  <a:solidFill>
                    <a:srgbClr val="CCECFF"/>
                  </a:solidFill>
                </a:rPr>
                <a:t>公有雲</a:t>
              </a:r>
            </a:p>
          </p:txBody>
        </p:sp>
      </p:grpSp>
      <p:pic>
        <p:nvPicPr>
          <p:cNvPr id="15" name="Picture 28" descr="Server-Virtual-Single"/>
          <p:cNvPicPr>
            <a:picLocks noChangeAspect="1" noChangeArrowheads="1"/>
          </p:cNvPicPr>
          <p:nvPr/>
        </p:nvPicPr>
        <p:blipFill>
          <a:blip r:embed="rId2"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ltGray">
          <a:xfrm>
            <a:off x="2352407" y="2739210"/>
            <a:ext cx="1599746" cy="1212506"/>
          </a:xfrm>
          <a:prstGeom prst="rect">
            <a:avLst/>
          </a:prstGeom>
          <a:noFill/>
          <a:ln w="9525">
            <a:noFill/>
            <a:miter lim="800000"/>
            <a:headEnd/>
            <a:tailEnd/>
          </a:ln>
        </p:spPr>
      </p:pic>
      <p:pic>
        <p:nvPicPr>
          <p:cNvPr id="16" name="Picture 28" descr="Server-Virtual-Single"/>
          <p:cNvPicPr>
            <a:picLocks noChangeAspect="1" noChangeArrowheads="1"/>
          </p:cNvPicPr>
          <p:nvPr/>
        </p:nvPicPr>
        <p:blipFill>
          <a:blip r:embed="rId2"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ltGray">
          <a:xfrm>
            <a:off x="2375097" y="2341006"/>
            <a:ext cx="1599746" cy="1212506"/>
          </a:xfrm>
          <a:prstGeom prst="rect">
            <a:avLst/>
          </a:prstGeom>
          <a:noFill/>
          <a:ln w="9525">
            <a:noFill/>
            <a:miter lim="800000"/>
            <a:headEnd/>
            <a:tailEnd/>
          </a:ln>
        </p:spPr>
      </p:pic>
      <p:pic>
        <p:nvPicPr>
          <p:cNvPr id="17" name="Picture 28" descr="Server-Virtual-Single"/>
          <p:cNvPicPr>
            <a:picLocks noChangeAspect="1" noChangeArrowheads="1"/>
          </p:cNvPicPr>
          <p:nvPr/>
        </p:nvPicPr>
        <p:blipFill>
          <a:blip r:embed="rId2" cstate="email">
            <a:duotone>
              <a:srgbClr val="D2D2D2">
                <a:shade val="45000"/>
                <a:satMod val="135000"/>
              </a:srgbClr>
              <a:prstClr val="white"/>
            </a:duotone>
            <a:extLst>
              <a:ext uri="{28A0092B-C50C-407E-A947-70E740481C1C}">
                <a14:useLocalDpi xmlns:a14="http://schemas.microsoft.com/office/drawing/2010/main"/>
              </a:ext>
            </a:extLst>
          </a:blip>
          <a:srcRect/>
          <a:stretch>
            <a:fillRect/>
          </a:stretch>
        </p:blipFill>
        <p:spPr bwMode="ltGray">
          <a:xfrm>
            <a:off x="2397787" y="1930286"/>
            <a:ext cx="1599746" cy="1212506"/>
          </a:xfrm>
          <a:prstGeom prst="rect">
            <a:avLst/>
          </a:prstGeom>
          <a:noFill/>
          <a:ln w="9525">
            <a:noFill/>
            <a:miter lim="800000"/>
            <a:headEnd/>
            <a:tailEnd/>
          </a:ln>
        </p:spPr>
      </p:pic>
      <p:sp>
        <p:nvSpPr>
          <p:cNvPr id="18" name="TextBox 17"/>
          <p:cNvSpPr txBox="1"/>
          <p:nvPr/>
        </p:nvSpPr>
        <p:spPr>
          <a:xfrm>
            <a:off x="1206735" y="4737885"/>
            <a:ext cx="3661259" cy="664797"/>
          </a:xfrm>
          <a:prstGeom prst="rect">
            <a:avLst/>
          </a:prstGeom>
          <a:noFill/>
        </p:spPr>
        <p:txBody>
          <a:bodyPr wrap="none" lIns="0" tIns="0" rIns="0" bIns="0" rtlCol="0">
            <a:spAutoFit/>
          </a:bodyPr>
          <a:lstStyle/>
          <a:p>
            <a:pPr marL="342768" indent="-342768" defTabSz="914049">
              <a:lnSpc>
                <a:spcPct val="90000"/>
              </a:lnSpc>
              <a:buFont typeface="Arial" panose="020B0604020202020204" pitchFamily="34" charset="0"/>
              <a:buChar char="•"/>
              <a:defRPr/>
            </a:pPr>
            <a:r>
              <a:rPr lang="zh-TW" altLang="en-US" sz="2400" kern="0" spc="-50" dirty="0" smtClean="0">
                <a:gradFill>
                  <a:gsLst>
                    <a:gs pos="2917">
                      <a:srgbClr val="505050"/>
                    </a:gs>
                    <a:gs pos="30000">
                      <a:srgbClr val="505050"/>
                    </a:gs>
                  </a:gsLst>
                  <a:lin ang="5400000" scaled="0"/>
                </a:gradFill>
              </a:rPr>
              <a:t>服務全世界客戶</a:t>
            </a:r>
            <a:endParaRPr lang="en-US" altLang="zh-TW" sz="2400" kern="0" spc="-50" dirty="0" smtClean="0">
              <a:gradFill>
                <a:gsLst>
                  <a:gs pos="2917">
                    <a:srgbClr val="505050"/>
                  </a:gs>
                  <a:gs pos="30000">
                    <a:srgbClr val="505050"/>
                  </a:gs>
                </a:gsLst>
                <a:lin ang="5400000" scaled="0"/>
              </a:gradFill>
            </a:endParaRPr>
          </a:p>
          <a:p>
            <a:pPr marL="342768" indent="-342768" defTabSz="914049">
              <a:lnSpc>
                <a:spcPct val="90000"/>
              </a:lnSpc>
              <a:buFont typeface="Arial" panose="020B0604020202020204" pitchFamily="34" charset="0"/>
              <a:buChar char="•"/>
              <a:defRPr/>
            </a:pPr>
            <a:r>
              <a:rPr lang="zh-TW" altLang="en-US" sz="2400" kern="0" spc="-50" dirty="0" smtClean="0">
                <a:gradFill>
                  <a:gsLst>
                    <a:gs pos="2917">
                      <a:srgbClr val="505050"/>
                    </a:gs>
                    <a:gs pos="30000">
                      <a:srgbClr val="505050"/>
                    </a:gs>
                  </a:gsLst>
                  <a:lin ang="5400000" scaled="0"/>
                </a:gradFill>
              </a:rPr>
              <a:t>運算資源集中在微軟機房</a:t>
            </a:r>
          </a:p>
        </p:txBody>
      </p:sp>
      <p:sp>
        <p:nvSpPr>
          <p:cNvPr id="19" name="TextBox 18"/>
          <p:cNvSpPr txBox="1"/>
          <p:nvPr/>
        </p:nvSpPr>
        <p:spPr>
          <a:xfrm>
            <a:off x="6106598" y="4737885"/>
            <a:ext cx="4792979" cy="664797"/>
          </a:xfrm>
          <a:prstGeom prst="rect">
            <a:avLst/>
          </a:prstGeom>
          <a:noFill/>
        </p:spPr>
        <p:txBody>
          <a:bodyPr wrap="none" lIns="0" tIns="0" rIns="0" bIns="0" rtlCol="0">
            <a:spAutoFit/>
          </a:bodyPr>
          <a:lstStyle/>
          <a:p>
            <a:pPr marL="342768" indent="-342768" defTabSz="914049">
              <a:lnSpc>
                <a:spcPct val="90000"/>
              </a:lnSpc>
              <a:buFont typeface="Arial" panose="020B0604020202020204" pitchFamily="34" charset="0"/>
              <a:buChar char="•"/>
              <a:defRPr/>
            </a:pPr>
            <a:r>
              <a:rPr lang="zh-TW" altLang="en-US" sz="2400" kern="0" spc="-50" dirty="0" smtClean="0">
                <a:gradFill>
                  <a:gsLst>
                    <a:gs pos="2917">
                      <a:srgbClr val="505050"/>
                    </a:gs>
                    <a:gs pos="30000">
                      <a:srgbClr val="505050"/>
                    </a:gs>
                  </a:gsLst>
                  <a:lin ang="5400000" scaled="0"/>
                </a:gradFill>
              </a:rPr>
              <a:t>服務公司</a:t>
            </a:r>
            <a:r>
              <a:rPr lang="en-US" altLang="zh-TW" sz="2400" kern="0" spc="-50" dirty="0" smtClean="0">
                <a:gradFill>
                  <a:gsLst>
                    <a:gs pos="2917">
                      <a:srgbClr val="505050"/>
                    </a:gs>
                    <a:gs pos="30000">
                      <a:srgbClr val="505050"/>
                    </a:gs>
                  </a:gsLst>
                  <a:lin ang="5400000" scaled="0"/>
                </a:gradFill>
              </a:rPr>
              <a:t>/</a:t>
            </a:r>
            <a:r>
              <a:rPr lang="zh-TW" altLang="en-US" sz="2400" kern="0" spc="-50" dirty="0" smtClean="0">
                <a:gradFill>
                  <a:gsLst>
                    <a:gs pos="2917">
                      <a:srgbClr val="505050"/>
                    </a:gs>
                    <a:gs pos="30000">
                      <a:srgbClr val="505050"/>
                    </a:gs>
                  </a:gsLst>
                  <a:lin ang="5400000" scaled="0"/>
                </a:gradFill>
              </a:rPr>
              <a:t>機關</a:t>
            </a:r>
            <a:r>
              <a:rPr lang="en-US" altLang="zh-TW" sz="2400" kern="0" spc="-50" dirty="0" smtClean="0">
                <a:gradFill>
                  <a:gsLst>
                    <a:gs pos="2917">
                      <a:srgbClr val="505050"/>
                    </a:gs>
                    <a:gs pos="30000">
                      <a:srgbClr val="505050"/>
                    </a:gs>
                  </a:gsLst>
                  <a:lin ang="5400000" scaled="0"/>
                </a:gradFill>
              </a:rPr>
              <a:t>/</a:t>
            </a:r>
            <a:r>
              <a:rPr lang="zh-TW" altLang="en-US" sz="2400" kern="0" spc="-50" dirty="0" smtClean="0">
                <a:gradFill>
                  <a:gsLst>
                    <a:gs pos="2917">
                      <a:srgbClr val="505050"/>
                    </a:gs>
                    <a:gs pos="30000">
                      <a:srgbClr val="505050"/>
                    </a:gs>
                  </a:gsLst>
                  <a:lin ang="5400000" scaled="0"/>
                </a:gradFill>
              </a:rPr>
              <a:t>學校內部營運單位</a:t>
            </a:r>
            <a:endParaRPr lang="en-US" altLang="zh-TW" sz="2400" kern="0" spc="-50" dirty="0" smtClean="0">
              <a:gradFill>
                <a:gsLst>
                  <a:gs pos="2917">
                    <a:srgbClr val="505050"/>
                  </a:gs>
                  <a:gs pos="30000">
                    <a:srgbClr val="505050"/>
                  </a:gs>
                </a:gsLst>
                <a:lin ang="5400000" scaled="0"/>
              </a:gradFill>
            </a:endParaRPr>
          </a:p>
          <a:p>
            <a:pPr marL="342768" indent="-342768" defTabSz="914049">
              <a:lnSpc>
                <a:spcPct val="90000"/>
              </a:lnSpc>
              <a:buFont typeface="Arial" panose="020B0604020202020204" pitchFamily="34" charset="0"/>
              <a:buChar char="•"/>
              <a:defRPr/>
            </a:pPr>
            <a:r>
              <a:rPr lang="zh-TW" altLang="en-US" sz="2400" kern="0" spc="-50" dirty="0" smtClean="0">
                <a:gradFill>
                  <a:gsLst>
                    <a:gs pos="2917">
                      <a:srgbClr val="505050"/>
                    </a:gs>
                    <a:gs pos="30000">
                      <a:srgbClr val="505050"/>
                    </a:gs>
                  </a:gsLst>
                  <a:lin ang="5400000" scaled="0"/>
                </a:gradFill>
              </a:rPr>
              <a:t>運算資源集中在</a:t>
            </a:r>
            <a:r>
              <a:rPr lang="en-US" altLang="zh-TW" sz="2400" kern="0" spc="-50" dirty="0" smtClean="0">
                <a:gradFill>
                  <a:gsLst>
                    <a:gs pos="2917">
                      <a:srgbClr val="505050"/>
                    </a:gs>
                    <a:gs pos="30000">
                      <a:srgbClr val="505050"/>
                    </a:gs>
                  </a:gsLst>
                  <a:lin ang="5400000" scaled="0"/>
                </a:gradFill>
              </a:rPr>
              <a:t>IT</a:t>
            </a:r>
            <a:r>
              <a:rPr lang="zh-TW" altLang="en-US" sz="2400" kern="0" spc="-50" dirty="0" smtClean="0">
                <a:gradFill>
                  <a:gsLst>
                    <a:gs pos="2917">
                      <a:srgbClr val="505050"/>
                    </a:gs>
                    <a:gs pos="30000">
                      <a:srgbClr val="505050"/>
                    </a:gs>
                  </a:gsLst>
                  <a:lin ang="5400000" scaled="0"/>
                </a:gradFill>
              </a:rPr>
              <a:t>機房</a:t>
            </a:r>
          </a:p>
        </p:txBody>
      </p:sp>
      <p:sp>
        <p:nvSpPr>
          <p:cNvPr id="20" name="Freeform 17"/>
          <p:cNvSpPr>
            <a:spLocks noChangeAspect="1" noEditPoints="1"/>
          </p:cNvSpPr>
          <p:nvPr/>
        </p:nvSpPr>
        <p:spPr bwMode="auto">
          <a:xfrm>
            <a:off x="3876607" y="4049855"/>
            <a:ext cx="1414057" cy="208045"/>
          </a:xfrm>
          <a:custGeom>
            <a:avLst/>
            <a:gdLst>
              <a:gd name="T0" fmla="*/ 382 w 5870"/>
              <a:gd name="T1" fmla="*/ 425 h 864"/>
              <a:gd name="T2" fmla="*/ 0 w 5870"/>
              <a:gd name="T3" fmla="*/ 121 h 864"/>
              <a:gd name="T4" fmla="*/ 382 w 5870"/>
              <a:gd name="T5" fmla="*/ 797 h 864"/>
              <a:gd name="T6" fmla="*/ 368 w 5870"/>
              <a:gd name="T7" fmla="*/ 440 h 864"/>
              <a:gd name="T8" fmla="*/ 368 w 5870"/>
              <a:gd name="T9" fmla="*/ 440 h 864"/>
              <a:gd name="T10" fmla="*/ 1835 w 5870"/>
              <a:gd name="T11" fmla="*/ 200 h 864"/>
              <a:gd name="T12" fmla="*/ 1913 w 5870"/>
              <a:gd name="T13" fmla="*/ 200 h 864"/>
              <a:gd name="T14" fmla="*/ 1613 w 5870"/>
              <a:gd name="T15" fmla="*/ 607 h 864"/>
              <a:gd name="T16" fmla="*/ 1309 w 5870"/>
              <a:gd name="T17" fmla="*/ 606 h 864"/>
              <a:gd name="T18" fmla="*/ 1345 w 5870"/>
              <a:gd name="T19" fmla="*/ 692 h 864"/>
              <a:gd name="T20" fmla="*/ 1649 w 5870"/>
              <a:gd name="T21" fmla="*/ 692 h 864"/>
              <a:gd name="T22" fmla="*/ 1845 w 5870"/>
              <a:gd name="T23" fmla="*/ 321 h 864"/>
              <a:gd name="T24" fmla="*/ 2301 w 5870"/>
              <a:gd name="T25" fmla="*/ 465 h 864"/>
              <a:gd name="T26" fmla="*/ 2053 w 5870"/>
              <a:gd name="T27" fmla="*/ 383 h 864"/>
              <a:gd name="T28" fmla="*/ 2053 w 5870"/>
              <a:gd name="T29" fmla="*/ 692 h 864"/>
              <a:gd name="T30" fmla="*/ 2242 w 5870"/>
              <a:gd name="T31" fmla="*/ 480 h 864"/>
              <a:gd name="T32" fmla="*/ 2710 w 5870"/>
              <a:gd name="T33" fmla="*/ 143 h 864"/>
              <a:gd name="T34" fmla="*/ 2538 w 5870"/>
              <a:gd name="T35" fmla="*/ 312 h 864"/>
              <a:gd name="T36" fmla="*/ 2522 w 5870"/>
              <a:gd name="T37" fmla="*/ 701 h 864"/>
              <a:gd name="T38" fmla="*/ 2710 w 5870"/>
              <a:gd name="T39" fmla="*/ 692 h 864"/>
              <a:gd name="T40" fmla="*/ 2459 w 5870"/>
              <a:gd name="T41" fmla="*/ 613 h 864"/>
              <a:gd name="T42" fmla="*/ 2620 w 5870"/>
              <a:gd name="T43" fmla="*/ 393 h 864"/>
              <a:gd name="T44" fmla="*/ 3104 w 5870"/>
              <a:gd name="T45" fmla="*/ 364 h 864"/>
              <a:gd name="T46" fmla="*/ 2835 w 5870"/>
              <a:gd name="T47" fmla="*/ 648 h 864"/>
              <a:gd name="T48" fmla="*/ 3104 w 5870"/>
              <a:gd name="T49" fmla="*/ 364 h 864"/>
              <a:gd name="T50" fmla="*/ 2847 w 5870"/>
              <a:gd name="T51" fmla="*/ 509 h 864"/>
              <a:gd name="T52" fmla="*/ 3090 w 5870"/>
              <a:gd name="T53" fmla="*/ 507 h 864"/>
              <a:gd name="T54" fmla="*/ 3547 w 5870"/>
              <a:gd name="T55" fmla="*/ 620 h 864"/>
              <a:gd name="T56" fmla="*/ 3315 w 5870"/>
              <a:gd name="T57" fmla="*/ 620 h 864"/>
              <a:gd name="T58" fmla="*/ 3343 w 5870"/>
              <a:gd name="T59" fmla="*/ 692 h 864"/>
              <a:gd name="T60" fmla="*/ 3578 w 5870"/>
              <a:gd name="T61" fmla="*/ 692 h 864"/>
              <a:gd name="T62" fmla="*/ 3845 w 5870"/>
              <a:gd name="T63" fmla="*/ 484 h 864"/>
              <a:gd name="T64" fmla="*/ 3840 w 5870"/>
              <a:gd name="T65" fmla="*/ 363 h 864"/>
              <a:gd name="T66" fmla="*/ 3751 w 5870"/>
              <a:gd name="T67" fmla="*/ 343 h 864"/>
              <a:gd name="T68" fmla="*/ 3866 w 5870"/>
              <a:gd name="T69" fmla="*/ 564 h 864"/>
              <a:gd name="T70" fmla="*/ 3713 w 5870"/>
              <a:gd name="T71" fmla="*/ 678 h 864"/>
              <a:gd name="T72" fmla="*/ 3919 w 5870"/>
              <a:gd name="T73" fmla="*/ 531 h 864"/>
              <a:gd name="T74" fmla="*/ 4172 w 5870"/>
              <a:gd name="T75" fmla="*/ 692 h 864"/>
              <a:gd name="T76" fmla="*/ 4566 w 5870"/>
              <a:gd name="T77" fmla="*/ 692 h 864"/>
              <a:gd name="T78" fmla="*/ 4335 w 5870"/>
              <a:gd name="T79" fmla="*/ 249 h 864"/>
              <a:gd name="T80" fmla="*/ 4606 w 5870"/>
              <a:gd name="T81" fmla="*/ 321 h 864"/>
              <a:gd name="T82" fmla="*/ 4585 w 5870"/>
              <a:gd name="T83" fmla="*/ 692 h 864"/>
              <a:gd name="T84" fmla="*/ 4892 w 5870"/>
              <a:gd name="T85" fmla="*/ 338 h 864"/>
              <a:gd name="T86" fmla="*/ 5188 w 5870"/>
              <a:gd name="T87" fmla="*/ 535 h 864"/>
              <a:gd name="T88" fmla="*/ 5000 w 5870"/>
              <a:gd name="T89" fmla="*/ 321 h 864"/>
              <a:gd name="T90" fmla="*/ 5187 w 5870"/>
              <a:gd name="T91" fmla="*/ 633 h 864"/>
              <a:gd name="T92" fmla="*/ 5248 w 5870"/>
              <a:gd name="T93" fmla="*/ 321 h 864"/>
              <a:gd name="T94" fmla="*/ 5405 w 5870"/>
              <a:gd name="T95" fmla="*/ 397 h 864"/>
              <a:gd name="T96" fmla="*/ 5344 w 5870"/>
              <a:gd name="T97" fmla="*/ 692 h 864"/>
              <a:gd name="T98" fmla="*/ 5492 w 5870"/>
              <a:gd name="T99" fmla="*/ 369 h 864"/>
              <a:gd name="T100" fmla="*/ 5829 w 5870"/>
              <a:gd name="T101" fmla="*/ 359 h 864"/>
              <a:gd name="T102" fmla="*/ 5547 w 5870"/>
              <a:gd name="T103" fmla="*/ 508 h 864"/>
              <a:gd name="T104" fmla="*/ 5844 w 5870"/>
              <a:gd name="T105" fmla="*/ 610 h 864"/>
              <a:gd name="T106" fmla="*/ 5870 w 5870"/>
              <a:gd name="T107" fmla="*/ 521 h 864"/>
              <a:gd name="T108" fmla="*/ 5716 w 5870"/>
              <a:gd name="T109" fmla="*/ 36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70"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70"/>
                  <a:pt x="368" y="70"/>
                  <a:pt x="368" y="70"/>
                </a:cubicBezTo>
                <a:cubicBezTo>
                  <a:pt x="0" y="121"/>
                  <a:pt x="0" y="121"/>
                  <a:pt x="0" y="121"/>
                </a:cubicBezTo>
                <a:cubicBezTo>
                  <a:pt x="0" y="425"/>
                  <a:pt x="0" y="425"/>
                  <a:pt x="0" y="425"/>
                </a:cubicBezTo>
                <a:lnTo>
                  <a:pt x="368" y="425"/>
                </a:lnTo>
                <a:close/>
                <a:moveTo>
                  <a:pt x="382" y="440"/>
                </a:moveTo>
                <a:cubicBezTo>
                  <a:pt x="382" y="797"/>
                  <a:pt x="382" y="797"/>
                  <a:pt x="382" y="797"/>
                </a:cubicBezTo>
                <a:cubicBezTo>
                  <a:pt x="864" y="864"/>
                  <a:pt x="864" y="864"/>
                  <a:pt x="864" y="864"/>
                </a:cubicBezTo>
                <a:cubicBezTo>
                  <a:pt x="864" y="440"/>
                  <a:pt x="864" y="440"/>
                  <a:pt x="864" y="440"/>
                </a:cubicBezTo>
                <a:lnTo>
                  <a:pt x="382" y="440"/>
                </a:lnTo>
                <a:close/>
                <a:moveTo>
                  <a:pt x="368" y="440"/>
                </a:moveTo>
                <a:cubicBezTo>
                  <a:pt x="0" y="440"/>
                  <a:pt x="0" y="440"/>
                  <a:pt x="0" y="440"/>
                </a:cubicBezTo>
                <a:cubicBezTo>
                  <a:pt x="0" y="744"/>
                  <a:pt x="0" y="744"/>
                  <a:pt x="0" y="744"/>
                </a:cubicBezTo>
                <a:cubicBezTo>
                  <a:pt x="368" y="795"/>
                  <a:pt x="368" y="795"/>
                  <a:pt x="368" y="795"/>
                </a:cubicBezTo>
                <a:lnTo>
                  <a:pt x="368" y="440"/>
                </a:lnTo>
                <a:close/>
                <a:moveTo>
                  <a:pt x="1902"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4" y="235"/>
                  <a:pt x="1901" y="227"/>
                </a:cubicBezTo>
                <a:cubicBezTo>
                  <a:pt x="1909" y="220"/>
                  <a:pt x="1913" y="211"/>
                  <a:pt x="1913" y="200"/>
                </a:cubicBezTo>
                <a:cubicBezTo>
                  <a:pt x="1913" y="189"/>
                  <a:pt x="1909" y="180"/>
                  <a:pt x="1902" y="173"/>
                </a:cubicBezTo>
                <a:close/>
                <a:moveTo>
                  <a:pt x="1730" y="173"/>
                </a:moveTo>
                <a:cubicBezTo>
                  <a:pt x="1615" y="607"/>
                  <a:pt x="1615" y="607"/>
                  <a:pt x="1615" y="607"/>
                </a:cubicBezTo>
                <a:cubicBezTo>
                  <a:pt x="1613" y="607"/>
                  <a:pt x="1613" y="607"/>
                  <a:pt x="1613" y="607"/>
                </a:cubicBezTo>
                <a:cubicBezTo>
                  <a:pt x="1495" y="173"/>
                  <a:pt x="1495" y="173"/>
                  <a:pt x="1495" y="173"/>
                </a:cubicBezTo>
                <a:cubicBezTo>
                  <a:pt x="1436" y="173"/>
                  <a:pt x="1436" y="173"/>
                  <a:pt x="1436" y="173"/>
                </a:cubicBezTo>
                <a:cubicBezTo>
                  <a:pt x="1311" y="606"/>
                  <a:pt x="1311" y="606"/>
                  <a:pt x="1311" y="606"/>
                </a:cubicBezTo>
                <a:cubicBezTo>
                  <a:pt x="1309" y="606"/>
                  <a:pt x="1309" y="606"/>
                  <a:pt x="1309" y="606"/>
                </a:cubicBezTo>
                <a:cubicBezTo>
                  <a:pt x="1189" y="173"/>
                  <a:pt x="1189" y="173"/>
                  <a:pt x="1189" y="173"/>
                </a:cubicBezTo>
                <a:cubicBezTo>
                  <a:pt x="1123" y="173"/>
                  <a:pt x="1123" y="173"/>
                  <a:pt x="1123" y="173"/>
                </a:cubicBezTo>
                <a:cubicBezTo>
                  <a:pt x="1274" y="692"/>
                  <a:pt x="1274" y="692"/>
                  <a:pt x="1274" y="692"/>
                </a:cubicBezTo>
                <a:cubicBezTo>
                  <a:pt x="1345" y="692"/>
                  <a:pt x="1345" y="692"/>
                  <a:pt x="1345" y="692"/>
                </a:cubicBezTo>
                <a:cubicBezTo>
                  <a:pt x="1461" y="281"/>
                  <a:pt x="1461" y="281"/>
                  <a:pt x="1461" y="281"/>
                </a:cubicBezTo>
                <a:cubicBezTo>
                  <a:pt x="1462" y="281"/>
                  <a:pt x="1462" y="281"/>
                  <a:pt x="1462" y="281"/>
                </a:cubicBezTo>
                <a:cubicBezTo>
                  <a:pt x="1578" y="692"/>
                  <a:pt x="1578" y="692"/>
                  <a:pt x="1578" y="692"/>
                </a:cubicBezTo>
                <a:cubicBezTo>
                  <a:pt x="1649" y="692"/>
                  <a:pt x="1649" y="692"/>
                  <a:pt x="1649" y="692"/>
                </a:cubicBezTo>
                <a:cubicBezTo>
                  <a:pt x="1796" y="173"/>
                  <a:pt x="1796" y="173"/>
                  <a:pt x="1796" y="173"/>
                </a:cubicBezTo>
                <a:lnTo>
                  <a:pt x="1730" y="173"/>
                </a:lnTo>
                <a:close/>
                <a:moveTo>
                  <a:pt x="1905" y="321"/>
                </a:moveTo>
                <a:cubicBezTo>
                  <a:pt x="1845" y="321"/>
                  <a:pt x="1845" y="321"/>
                  <a:pt x="1845" y="321"/>
                </a:cubicBezTo>
                <a:cubicBezTo>
                  <a:pt x="1845" y="692"/>
                  <a:pt x="1845" y="692"/>
                  <a:pt x="1845" y="692"/>
                </a:cubicBezTo>
                <a:cubicBezTo>
                  <a:pt x="1905" y="692"/>
                  <a:pt x="1905" y="692"/>
                  <a:pt x="1905" y="692"/>
                </a:cubicBezTo>
                <a:lnTo>
                  <a:pt x="1905" y="321"/>
                </a:lnTo>
                <a:close/>
                <a:moveTo>
                  <a:pt x="2301" y="465"/>
                </a:moveTo>
                <a:cubicBezTo>
                  <a:pt x="2301" y="416"/>
                  <a:pt x="2290" y="378"/>
                  <a:pt x="2269" y="352"/>
                </a:cubicBezTo>
                <a:cubicBezTo>
                  <a:pt x="2248" y="325"/>
                  <a:pt x="2217" y="312"/>
                  <a:pt x="2176" y="312"/>
                </a:cubicBezTo>
                <a:cubicBezTo>
                  <a:pt x="2123" y="312"/>
                  <a:pt x="2082" y="336"/>
                  <a:pt x="2054" y="383"/>
                </a:cubicBezTo>
                <a:cubicBezTo>
                  <a:pt x="2053" y="383"/>
                  <a:pt x="2053" y="383"/>
                  <a:pt x="2053" y="383"/>
                </a:cubicBezTo>
                <a:cubicBezTo>
                  <a:pt x="2053" y="321"/>
                  <a:pt x="2053" y="321"/>
                  <a:pt x="2053" y="321"/>
                </a:cubicBezTo>
                <a:cubicBezTo>
                  <a:pt x="1994" y="321"/>
                  <a:pt x="1994" y="321"/>
                  <a:pt x="1994" y="321"/>
                </a:cubicBezTo>
                <a:cubicBezTo>
                  <a:pt x="1994" y="692"/>
                  <a:pt x="1994" y="692"/>
                  <a:pt x="1994" y="692"/>
                </a:cubicBezTo>
                <a:cubicBezTo>
                  <a:pt x="2053" y="692"/>
                  <a:pt x="2053" y="692"/>
                  <a:pt x="2053" y="692"/>
                </a:cubicBezTo>
                <a:cubicBezTo>
                  <a:pt x="2053" y="480"/>
                  <a:pt x="2053" y="480"/>
                  <a:pt x="2053" y="480"/>
                </a:cubicBezTo>
                <a:cubicBezTo>
                  <a:pt x="2053" y="446"/>
                  <a:pt x="2063" y="418"/>
                  <a:pt x="2082" y="396"/>
                </a:cubicBezTo>
                <a:cubicBezTo>
                  <a:pt x="2102" y="374"/>
                  <a:pt x="2126" y="363"/>
                  <a:pt x="2156" y="363"/>
                </a:cubicBezTo>
                <a:cubicBezTo>
                  <a:pt x="2213" y="363"/>
                  <a:pt x="2242" y="402"/>
                  <a:pt x="2242" y="480"/>
                </a:cubicBezTo>
                <a:cubicBezTo>
                  <a:pt x="2242" y="692"/>
                  <a:pt x="2242" y="692"/>
                  <a:pt x="2242" y="692"/>
                </a:cubicBezTo>
                <a:cubicBezTo>
                  <a:pt x="2301" y="692"/>
                  <a:pt x="2301" y="692"/>
                  <a:pt x="2301" y="692"/>
                </a:cubicBezTo>
                <a:lnTo>
                  <a:pt x="2301" y="465"/>
                </a:lnTo>
                <a:close/>
                <a:moveTo>
                  <a:pt x="2710" y="143"/>
                </a:moveTo>
                <a:cubicBezTo>
                  <a:pt x="2651" y="143"/>
                  <a:pt x="2651" y="143"/>
                  <a:pt x="2651" y="143"/>
                </a:cubicBezTo>
                <a:cubicBezTo>
                  <a:pt x="2651" y="372"/>
                  <a:pt x="2651" y="372"/>
                  <a:pt x="2651" y="372"/>
                </a:cubicBezTo>
                <a:cubicBezTo>
                  <a:pt x="2649" y="372"/>
                  <a:pt x="2649" y="372"/>
                  <a:pt x="2649" y="372"/>
                </a:cubicBezTo>
                <a:cubicBezTo>
                  <a:pt x="2626" y="332"/>
                  <a:pt x="2589" y="312"/>
                  <a:pt x="2538" y="312"/>
                </a:cubicBezTo>
                <a:cubicBezTo>
                  <a:pt x="2487" y="312"/>
                  <a:pt x="2445" y="331"/>
                  <a:pt x="2415" y="368"/>
                </a:cubicBezTo>
                <a:cubicBezTo>
                  <a:pt x="2384" y="405"/>
                  <a:pt x="2369" y="454"/>
                  <a:pt x="2369" y="515"/>
                </a:cubicBezTo>
                <a:cubicBezTo>
                  <a:pt x="2369" y="572"/>
                  <a:pt x="2382" y="617"/>
                  <a:pt x="2410" y="650"/>
                </a:cubicBezTo>
                <a:cubicBezTo>
                  <a:pt x="2438" y="684"/>
                  <a:pt x="2475" y="701"/>
                  <a:pt x="2522" y="701"/>
                </a:cubicBezTo>
                <a:cubicBezTo>
                  <a:pt x="2579" y="701"/>
                  <a:pt x="2622" y="677"/>
                  <a:pt x="2649" y="629"/>
                </a:cubicBezTo>
                <a:cubicBezTo>
                  <a:pt x="2651" y="629"/>
                  <a:pt x="2651" y="629"/>
                  <a:pt x="2651" y="629"/>
                </a:cubicBezTo>
                <a:cubicBezTo>
                  <a:pt x="2651" y="692"/>
                  <a:pt x="2651" y="692"/>
                  <a:pt x="2651" y="692"/>
                </a:cubicBezTo>
                <a:cubicBezTo>
                  <a:pt x="2710" y="692"/>
                  <a:pt x="2710" y="692"/>
                  <a:pt x="2710" y="692"/>
                </a:cubicBezTo>
                <a:lnTo>
                  <a:pt x="2710" y="143"/>
                </a:lnTo>
                <a:close/>
                <a:moveTo>
                  <a:pt x="2619" y="615"/>
                </a:moveTo>
                <a:cubicBezTo>
                  <a:pt x="2598" y="638"/>
                  <a:pt x="2571" y="650"/>
                  <a:pt x="2539" y="650"/>
                </a:cubicBezTo>
                <a:cubicBezTo>
                  <a:pt x="2505" y="650"/>
                  <a:pt x="2479" y="638"/>
                  <a:pt x="2459" y="613"/>
                </a:cubicBezTo>
                <a:cubicBezTo>
                  <a:pt x="2439" y="588"/>
                  <a:pt x="2429" y="555"/>
                  <a:pt x="2429" y="512"/>
                </a:cubicBezTo>
                <a:cubicBezTo>
                  <a:pt x="2429" y="465"/>
                  <a:pt x="2440" y="429"/>
                  <a:pt x="2461" y="402"/>
                </a:cubicBezTo>
                <a:cubicBezTo>
                  <a:pt x="2482" y="376"/>
                  <a:pt x="2510" y="363"/>
                  <a:pt x="2546" y="363"/>
                </a:cubicBezTo>
                <a:cubicBezTo>
                  <a:pt x="2575" y="363"/>
                  <a:pt x="2600" y="373"/>
                  <a:pt x="2620" y="393"/>
                </a:cubicBezTo>
                <a:cubicBezTo>
                  <a:pt x="2641" y="413"/>
                  <a:pt x="2651" y="439"/>
                  <a:pt x="2651" y="469"/>
                </a:cubicBezTo>
                <a:cubicBezTo>
                  <a:pt x="2651" y="524"/>
                  <a:pt x="2651" y="524"/>
                  <a:pt x="2651" y="524"/>
                </a:cubicBezTo>
                <a:cubicBezTo>
                  <a:pt x="2651" y="561"/>
                  <a:pt x="2640" y="591"/>
                  <a:pt x="2619" y="615"/>
                </a:cubicBezTo>
                <a:close/>
                <a:moveTo>
                  <a:pt x="3104" y="364"/>
                </a:moveTo>
                <a:cubicBezTo>
                  <a:pt x="3073" y="329"/>
                  <a:pt x="3030" y="312"/>
                  <a:pt x="2975" y="312"/>
                </a:cubicBezTo>
                <a:cubicBezTo>
                  <a:pt x="2916" y="312"/>
                  <a:pt x="2870" y="330"/>
                  <a:pt x="2836" y="365"/>
                </a:cubicBezTo>
                <a:cubicBezTo>
                  <a:pt x="2803" y="401"/>
                  <a:pt x="2786" y="449"/>
                  <a:pt x="2786" y="511"/>
                </a:cubicBezTo>
                <a:cubicBezTo>
                  <a:pt x="2786" y="568"/>
                  <a:pt x="2802" y="614"/>
                  <a:pt x="2835" y="648"/>
                </a:cubicBezTo>
                <a:cubicBezTo>
                  <a:pt x="2867" y="683"/>
                  <a:pt x="2911" y="701"/>
                  <a:pt x="2966" y="701"/>
                </a:cubicBezTo>
                <a:cubicBezTo>
                  <a:pt x="3022" y="701"/>
                  <a:pt x="3067" y="683"/>
                  <a:pt x="3100" y="647"/>
                </a:cubicBezTo>
                <a:cubicBezTo>
                  <a:pt x="3134" y="611"/>
                  <a:pt x="3150" y="564"/>
                  <a:pt x="3150" y="505"/>
                </a:cubicBezTo>
                <a:cubicBezTo>
                  <a:pt x="3150" y="445"/>
                  <a:pt x="3135" y="398"/>
                  <a:pt x="3104" y="364"/>
                </a:cubicBezTo>
                <a:close/>
                <a:moveTo>
                  <a:pt x="3059" y="613"/>
                </a:moveTo>
                <a:cubicBezTo>
                  <a:pt x="3038" y="638"/>
                  <a:pt x="3009" y="650"/>
                  <a:pt x="2970" y="650"/>
                </a:cubicBezTo>
                <a:cubicBezTo>
                  <a:pt x="2932" y="650"/>
                  <a:pt x="2902" y="638"/>
                  <a:pt x="2880" y="613"/>
                </a:cubicBezTo>
                <a:cubicBezTo>
                  <a:pt x="2858" y="588"/>
                  <a:pt x="2847" y="553"/>
                  <a:pt x="2847" y="509"/>
                </a:cubicBezTo>
                <a:cubicBezTo>
                  <a:pt x="2847" y="462"/>
                  <a:pt x="2858" y="426"/>
                  <a:pt x="2880" y="401"/>
                </a:cubicBezTo>
                <a:cubicBezTo>
                  <a:pt x="2902" y="375"/>
                  <a:pt x="2932" y="363"/>
                  <a:pt x="2970" y="363"/>
                </a:cubicBezTo>
                <a:cubicBezTo>
                  <a:pt x="3009" y="363"/>
                  <a:pt x="3038" y="375"/>
                  <a:pt x="3059" y="400"/>
                </a:cubicBezTo>
                <a:cubicBezTo>
                  <a:pt x="3079" y="425"/>
                  <a:pt x="3090" y="461"/>
                  <a:pt x="3090" y="507"/>
                </a:cubicBezTo>
                <a:cubicBezTo>
                  <a:pt x="3090" y="553"/>
                  <a:pt x="3079" y="589"/>
                  <a:pt x="3059" y="613"/>
                </a:cubicBezTo>
                <a:close/>
                <a:moveTo>
                  <a:pt x="3631" y="321"/>
                </a:moveTo>
                <a:cubicBezTo>
                  <a:pt x="3550" y="620"/>
                  <a:pt x="3550" y="620"/>
                  <a:pt x="3550" y="620"/>
                </a:cubicBezTo>
                <a:cubicBezTo>
                  <a:pt x="3547" y="620"/>
                  <a:pt x="3547" y="620"/>
                  <a:pt x="3547" y="620"/>
                </a:cubicBezTo>
                <a:cubicBezTo>
                  <a:pt x="3464" y="321"/>
                  <a:pt x="3464" y="321"/>
                  <a:pt x="3464" y="321"/>
                </a:cubicBezTo>
                <a:cubicBezTo>
                  <a:pt x="3410" y="321"/>
                  <a:pt x="3410" y="321"/>
                  <a:pt x="3410" y="321"/>
                </a:cubicBezTo>
                <a:cubicBezTo>
                  <a:pt x="3318" y="620"/>
                  <a:pt x="3318" y="620"/>
                  <a:pt x="3318" y="620"/>
                </a:cubicBezTo>
                <a:cubicBezTo>
                  <a:pt x="3315" y="620"/>
                  <a:pt x="3315" y="620"/>
                  <a:pt x="3315" y="620"/>
                </a:cubicBezTo>
                <a:cubicBezTo>
                  <a:pt x="3234" y="321"/>
                  <a:pt x="3234" y="321"/>
                  <a:pt x="3234" y="321"/>
                </a:cubicBezTo>
                <a:cubicBezTo>
                  <a:pt x="3171" y="321"/>
                  <a:pt x="3171" y="321"/>
                  <a:pt x="3171" y="321"/>
                </a:cubicBezTo>
                <a:cubicBezTo>
                  <a:pt x="3283" y="692"/>
                  <a:pt x="3283" y="692"/>
                  <a:pt x="3283" y="692"/>
                </a:cubicBezTo>
                <a:cubicBezTo>
                  <a:pt x="3343" y="692"/>
                  <a:pt x="3343" y="692"/>
                  <a:pt x="3343" y="692"/>
                </a:cubicBezTo>
                <a:cubicBezTo>
                  <a:pt x="3432" y="404"/>
                  <a:pt x="3432" y="404"/>
                  <a:pt x="3432" y="404"/>
                </a:cubicBezTo>
                <a:cubicBezTo>
                  <a:pt x="3434" y="404"/>
                  <a:pt x="3434" y="404"/>
                  <a:pt x="3434" y="404"/>
                </a:cubicBezTo>
                <a:cubicBezTo>
                  <a:pt x="3517" y="692"/>
                  <a:pt x="3517" y="692"/>
                  <a:pt x="3517" y="692"/>
                </a:cubicBezTo>
                <a:cubicBezTo>
                  <a:pt x="3578" y="692"/>
                  <a:pt x="3578" y="692"/>
                  <a:pt x="3578" y="692"/>
                </a:cubicBezTo>
                <a:cubicBezTo>
                  <a:pt x="3689" y="321"/>
                  <a:pt x="3689" y="321"/>
                  <a:pt x="3689" y="321"/>
                </a:cubicBezTo>
                <a:lnTo>
                  <a:pt x="3631" y="321"/>
                </a:lnTo>
                <a:close/>
                <a:moveTo>
                  <a:pt x="3919" y="531"/>
                </a:moveTo>
                <a:cubicBezTo>
                  <a:pt x="3905" y="514"/>
                  <a:pt x="3880" y="499"/>
                  <a:pt x="3845" y="484"/>
                </a:cubicBezTo>
                <a:cubicBezTo>
                  <a:pt x="3816" y="472"/>
                  <a:pt x="3797" y="461"/>
                  <a:pt x="3788" y="452"/>
                </a:cubicBezTo>
                <a:cubicBezTo>
                  <a:pt x="3779" y="444"/>
                  <a:pt x="3775" y="431"/>
                  <a:pt x="3775" y="414"/>
                </a:cubicBezTo>
                <a:cubicBezTo>
                  <a:pt x="3775" y="399"/>
                  <a:pt x="3781" y="387"/>
                  <a:pt x="3792" y="377"/>
                </a:cubicBezTo>
                <a:cubicBezTo>
                  <a:pt x="3804" y="368"/>
                  <a:pt x="3820" y="363"/>
                  <a:pt x="3840" y="363"/>
                </a:cubicBezTo>
                <a:cubicBezTo>
                  <a:pt x="3872" y="363"/>
                  <a:pt x="3899" y="372"/>
                  <a:pt x="3924" y="389"/>
                </a:cubicBezTo>
                <a:cubicBezTo>
                  <a:pt x="3924" y="329"/>
                  <a:pt x="3924" y="329"/>
                  <a:pt x="3924" y="329"/>
                </a:cubicBezTo>
                <a:cubicBezTo>
                  <a:pt x="3900" y="318"/>
                  <a:pt x="3874" y="312"/>
                  <a:pt x="3844" y="312"/>
                </a:cubicBezTo>
                <a:cubicBezTo>
                  <a:pt x="3807" y="312"/>
                  <a:pt x="3775" y="322"/>
                  <a:pt x="3751" y="343"/>
                </a:cubicBezTo>
                <a:cubicBezTo>
                  <a:pt x="3726" y="363"/>
                  <a:pt x="3714" y="389"/>
                  <a:pt x="3714" y="420"/>
                </a:cubicBezTo>
                <a:cubicBezTo>
                  <a:pt x="3714" y="446"/>
                  <a:pt x="3721" y="467"/>
                  <a:pt x="3734" y="483"/>
                </a:cubicBezTo>
                <a:cubicBezTo>
                  <a:pt x="3748" y="499"/>
                  <a:pt x="3771" y="514"/>
                  <a:pt x="3803" y="528"/>
                </a:cubicBezTo>
                <a:cubicBezTo>
                  <a:pt x="3836" y="543"/>
                  <a:pt x="3857" y="555"/>
                  <a:pt x="3866" y="564"/>
                </a:cubicBezTo>
                <a:cubicBezTo>
                  <a:pt x="3875" y="573"/>
                  <a:pt x="3880" y="584"/>
                  <a:pt x="3880" y="598"/>
                </a:cubicBezTo>
                <a:cubicBezTo>
                  <a:pt x="3880" y="633"/>
                  <a:pt x="3856" y="650"/>
                  <a:pt x="3809" y="650"/>
                </a:cubicBezTo>
                <a:cubicBezTo>
                  <a:pt x="3774" y="650"/>
                  <a:pt x="3742" y="638"/>
                  <a:pt x="3713" y="615"/>
                </a:cubicBezTo>
                <a:cubicBezTo>
                  <a:pt x="3713" y="678"/>
                  <a:pt x="3713" y="678"/>
                  <a:pt x="3713" y="678"/>
                </a:cubicBezTo>
                <a:cubicBezTo>
                  <a:pt x="3739" y="693"/>
                  <a:pt x="3770" y="701"/>
                  <a:pt x="3805" y="701"/>
                </a:cubicBezTo>
                <a:cubicBezTo>
                  <a:pt x="3846" y="701"/>
                  <a:pt x="3879" y="691"/>
                  <a:pt x="3904" y="671"/>
                </a:cubicBezTo>
                <a:cubicBezTo>
                  <a:pt x="3928" y="651"/>
                  <a:pt x="3941" y="625"/>
                  <a:pt x="3941" y="593"/>
                </a:cubicBezTo>
                <a:cubicBezTo>
                  <a:pt x="3941" y="568"/>
                  <a:pt x="3934" y="547"/>
                  <a:pt x="3919" y="531"/>
                </a:cubicBezTo>
                <a:close/>
                <a:moveTo>
                  <a:pt x="4366" y="173"/>
                </a:moveTo>
                <a:cubicBezTo>
                  <a:pt x="4303" y="173"/>
                  <a:pt x="4303" y="173"/>
                  <a:pt x="4303" y="173"/>
                </a:cubicBezTo>
                <a:cubicBezTo>
                  <a:pt x="4105" y="692"/>
                  <a:pt x="4105" y="692"/>
                  <a:pt x="4105" y="692"/>
                </a:cubicBezTo>
                <a:cubicBezTo>
                  <a:pt x="4172" y="692"/>
                  <a:pt x="4172" y="692"/>
                  <a:pt x="4172" y="692"/>
                </a:cubicBezTo>
                <a:cubicBezTo>
                  <a:pt x="4224" y="547"/>
                  <a:pt x="4224" y="547"/>
                  <a:pt x="4224" y="547"/>
                </a:cubicBezTo>
                <a:cubicBezTo>
                  <a:pt x="4445" y="547"/>
                  <a:pt x="4445" y="547"/>
                  <a:pt x="4445" y="547"/>
                </a:cubicBezTo>
                <a:cubicBezTo>
                  <a:pt x="4499" y="692"/>
                  <a:pt x="4499" y="692"/>
                  <a:pt x="4499" y="692"/>
                </a:cubicBezTo>
                <a:cubicBezTo>
                  <a:pt x="4566" y="692"/>
                  <a:pt x="4566" y="692"/>
                  <a:pt x="4566" y="692"/>
                </a:cubicBezTo>
                <a:lnTo>
                  <a:pt x="4366" y="173"/>
                </a:lnTo>
                <a:close/>
                <a:moveTo>
                  <a:pt x="4244" y="492"/>
                </a:moveTo>
                <a:cubicBezTo>
                  <a:pt x="4333" y="249"/>
                  <a:pt x="4333" y="249"/>
                  <a:pt x="4333" y="249"/>
                </a:cubicBezTo>
                <a:cubicBezTo>
                  <a:pt x="4335" y="249"/>
                  <a:pt x="4335" y="249"/>
                  <a:pt x="4335" y="249"/>
                </a:cubicBezTo>
                <a:cubicBezTo>
                  <a:pt x="4424" y="492"/>
                  <a:pt x="4424" y="492"/>
                  <a:pt x="4424" y="492"/>
                </a:cubicBezTo>
                <a:lnTo>
                  <a:pt x="4244" y="492"/>
                </a:lnTo>
                <a:close/>
                <a:moveTo>
                  <a:pt x="4892" y="321"/>
                </a:moveTo>
                <a:cubicBezTo>
                  <a:pt x="4606" y="321"/>
                  <a:pt x="4606" y="321"/>
                  <a:pt x="4606" y="321"/>
                </a:cubicBezTo>
                <a:cubicBezTo>
                  <a:pt x="4606" y="371"/>
                  <a:pt x="4606" y="371"/>
                  <a:pt x="4606" y="371"/>
                </a:cubicBezTo>
                <a:cubicBezTo>
                  <a:pt x="4805" y="371"/>
                  <a:pt x="4805" y="371"/>
                  <a:pt x="4805" y="371"/>
                </a:cubicBezTo>
                <a:cubicBezTo>
                  <a:pt x="4585" y="673"/>
                  <a:pt x="4585" y="673"/>
                  <a:pt x="4585" y="673"/>
                </a:cubicBezTo>
                <a:cubicBezTo>
                  <a:pt x="4585" y="692"/>
                  <a:pt x="4585" y="692"/>
                  <a:pt x="4585" y="692"/>
                </a:cubicBezTo>
                <a:cubicBezTo>
                  <a:pt x="4890" y="692"/>
                  <a:pt x="4890" y="692"/>
                  <a:pt x="4890" y="692"/>
                </a:cubicBezTo>
                <a:cubicBezTo>
                  <a:pt x="4890" y="641"/>
                  <a:pt x="4890" y="641"/>
                  <a:pt x="4890" y="641"/>
                </a:cubicBezTo>
                <a:cubicBezTo>
                  <a:pt x="4673" y="641"/>
                  <a:pt x="4673" y="641"/>
                  <a:pt x="4673" y="641"/>
                </a:cubicBezTo>
                <a:cubicBezTo>
                  <a:pt x="4892" y="338"/>
                  <a:pt x="4892" y="338"/>
                  <a:pt x="4892" y="338"/>
                </a:cubicBezTo>
                <a:lnTo>
                  <a:pt x="4892" y="321"/>
                </a:lnTo>
                <a:close/>
                <a:moveTo>
                  <a:pt x="5248" y="321"/>
                </a:moveTo>
                <a:cubicBezTo>
                  <a:pt x="5188" y="321"/>
                  <a:pt x="5188" y="321"/>
                  <a:pt x="5188" y="321"/>
                </a:cubicBezTo>
                <a:cubicBezTo>
                  <a:pt x="5188" y="535"/>
                  <a:pt x="5188" y="535"/>
                  <a:pt x="5188" y="535"/>
                </a:cubicBezTo>
                <a:cubicBezTo>
                  <a:pt x="5188" y="569"/>
                  <a:pt x="5179" y="597"/>
                  <a:pt x="5161" y="618"/>
                </a:cubicBezTo>
                <a:cubicBezTo>
                  <a:pt x="5143" y="639"/>
                  <a:pt x="5119" y="650"/>
                  <a:pt x="5089" y="650"/>
                </a:cubicBezTo>
                <a:cubicBezTo>
                  <a:pt x="5029" y="650"/>
                  <a:pt x="5000" y="611"/>
                  <a:pt x="5000" y="533"/>
                </a:cubicBezTo>
                <a:cubicBezTo>
                  <a:pt x="5000" y="321"/>
                  <a:pt x="5000" y="321"/>
                  <a:pt x="5000" y="321"/>
                </a:cubicBezTo>
                <a:cubicBezTo>
                  <a:pt x="4940" y="321"/>
                  <a:pt x="4940" y="321"/>
                  <a:pt x="4940" y="321"/>
                </a:cubicBezTo>
                <a:cubicBezTo>
                  <a:pt x="4940" y="543"/>
                  <a:pt x="4940" y="543"/>
                  <a:pt x="4940" y="543"/>
                </a:cubicBezTo>
                <a:cubicBezTo>
                  <a:pt x="4940" y="648"/>
                  <a:pt x="4984" y="701"/>
                  <a:pt x="5073" y="701"/>
                </a:cubicBezTo>
                <a:cubicBezTo>
                  <a:pt x="5124" y="701"/>
                  <a:pt x="5162" y="678"/>
                  <a:pt x="5187" y="633"/>
                </a:cubicBezTo>
                <a:cubicBezTo>
                  <a:pt x="5188" y="633"/>
                  <a:pt x="5188" y="633"/>
                  <a:pt x="5188" y="633"/>
                </a:cubicBezTo>
                <a:cubicBezTo>
                  <a:pt x="5188" y="692"/>
                  <a:pt x="5188" y="692"/>
                  <a:pt x="5188" y="692"/>
                </a:cubicBezTo>
                <a:cubicBezTo>
                  <a:pt x="5248" y="692"/>
                  <a:pt x="5248" y="692"/>
                  <a:pt x="5248" y="692"/>
                </a:cubicBezTo>
                <a:lnTo>
                  <a:pt x="5248" y="321"/>
                </a:lnTo>
                <a:close/>
                <a:moveTo>
                  <a:pt x="5537" y="320"/>
                </a:moveTo>
                <a:cubicBezTo>
                  <a:pt x="5529" y="316"/>
                  <a:pt x="5517" y="315"/>
                  <a:pt x="5502" y="315"/>
                </a:cubicBezTo>
                <a:cubicBezTo>
                  <a:pt x="5480" y="315"/>
                  <a:pt x="5460" y="322"/>
                  <a:pt x="5443" y="337"/>
                </a:cubicBezTo>
                <a:cubicBezTo>
                  <a:pt x="5426" y="352"/>
                  <a:pt x="5413" y="372"/>
                  <a:pt x="5405" y="397"/>
                </a:cubicBezTo>
                <a:cubicBezTo>
                  <a:pt x="5404" y="397"/>
                  <a:pt x="5404" y="397"/>
                  <a:pt x="5404" y="397"/>
                </a:cubicBezTo>
                <a:cubicBezTo>
                  <a:pt x="5404" y="321"/>
                  <a:pt x="5404" y="321"/>
                  <a:pt x="5404" y="321"/>
                </a:cubicBezTo>
                <a:cubicBezTo>
                  <a:pt x="5344" y="321"/>
                  <a:pt x="5344" y="321"/>
                  <a:pt x="5344" y="321"/>
                </a:cubicBezTo>
                <a:cubicBezTo>
                  <a:pt x="5344" y="692"/>
                  <a:pt x="5344" y="692"/>
                  <a:pt x="5344" y="692"/>
                </a:cubicBezTo>
                <a:cubicBezTo>
                  <a:pt x="5404" y="692"/>
                  <a:pt x="5404" y="692"/>
                  <a:pt x="5404" y="692"/>
                </a:cubicBezTo>
                <a:cubicBezTo>
                  <a:pt x="5404" y="503"/>
                  <a:pt x="5404" y="503"/>
                  <a:pt x="5404" y="503"/>
                </a:cubicBezTo>
                <a:cubicBezTo>
                  <a:pt x="5404" y="463"/>
                  <a:pt x="5412" y="431"/>
                  <a:pt x="5428" y="406"/>
                </a:cubicBezTo>
                <a:cubicBezTo>
                  <a:pt x="5445" y="382"/>
                  <a:pt x="5466" y="369"/>
                  <a:pt x="5492" y="369"/>
                </a:cubicBezTo>
                <a:cubicBezTo>
                  <a:pt x="5512" y="369"/>
                  <a:pt x="5527" y="373"/>
                  <a:pt x="5537" y="381"/>
                </a:cubicBezTo>
                <a:lnTo>
                  <a:pt x="5537" y="320"/>
                </a:lnTo>
                <a:close/>
                <a:moveTo>
                  <a:pt x="5870" y="490"/>
                </a:moveTo>
                <a:cubicBezTo>
                  <a:pt x="5870" y="434"/>
                  <a:pt x="5856" y="390"/>
                  <a:pt x="5829" y="359"/>
                </a:cubicBezTo>
                <a:cubicBezTo>
                  <a:pt x="5803" y="328"/>
                  <a:pt x="5765" y="312"/>
                  <a:pt x="5717" y="312"/>
                </a:cubicBezTo>
                <a:cubicBezTo>
                  <a:pt x="5685" y="312"/>
                  <a:pt x="5656" y="320"/>
                  <a:pt x="5630" y="337"/>
                </a:cubicBezTo>
                <a:cubicBezTo>
                  <a:pt x="5604" y="354"/>
                  <a:pt x="5584" y="377"/>
                  <a:pt x="5569" y="407"/>
                </a:cubicBezTo>
                <a:cubicBezTo>
                  <a:pt x="5554" y="438"/>
                  <a:pt x="5547" y="471"/>
                  <a:pt x="5547" y="508"/>
                </a:cubicBezTo>
                <a:cubicBezTo>
                  <a:pt x="5547" y="568"/>
                  <a:pt x="5562" y="615"/>
                  <a:pt x="5591" y="649"/>
                </a:cubicBezTo>
                <a:cubicBezTo>
                  <a:pt x="5621" y="684"/>
                  <a:pt x="5662" y="701"/>
                  <a:pt x="5715" y="701"/>
                </a:cubicBezTo>
                <a:cubicBezTo>
                  <a:pt x="5768" y="701"/>
                  <a:pt x="5811" y="689"/>
                  <a:pt x="5844" y="665"/>
                </a:cubicBezTo>
                <a:cubicBezTo>
                  <a:pt x="5844" y="610"/>
                  <a:pt x="5844" y="610"/>
                  <a:pt x="5844" y="610"/>
                </a:cubicBezTo>
                <a:cubicBezTo>
                  <a:pt x="5809" y="637"/>
                  <a:pt x="5771" y="650"/>
                  <a:pt x="5729" y="650"/>
                </a:cubicBezTo>
                <a:cubicBezTo>
                  <a:pt x="5692" y="650"/>
                  <a:pt x="5662" y="639"/>
                  <a:pt x="5641" y="617"/>
                </a:cubicBezTo>
                <a:cubicBezTo>
                  <a:pt x="5620" y="595"/>
                  <a:pt x="5609" y="563"/>
                  <a:pt x="5608" y="521"/>
                </a:cubicBezTo>
                <a:cubicBezTo>
                  <a:pt x="5870" y="521"/>
                  <a:pt x="5870" y="521"/>
                  <a:pt x="5870" y="521"/>
                </a:cubicBezTo>
                <a:lnTo>
                  <a:pt x="5870" y="490"/>
                </a:lnTo>
                <a:close/>
                <a:moveTo>
                  <a:pt x="5609" y="471"/>
                </a:moveTo>
                <a:cubicBezTo>
                  <a:pt x="5614" y="438"/>
                  <a:pt x="5626" y="412"/>
                  <a:pt x="5646" y="392"/>
                </a:cubicBezTo>
                <a:cubicBezTo>
                  <a:pt x="5665" y="373"/>
                  <a:pt x="5689" y="363"/>
                  <a:pt x="5716" y="363"/>
                </a:cubicBezTo>
                <a:cubicBezTo>
                  <a:pt x="5746" y="363"/>
                  <a:pt x="5768" y="372"/>
                  <a:pt x="5784" y="391"/>
                </a:cubicBezTo>
                <a:cubicBezTo>
                  <a:pt x="5800" y="410"/>
                  <a:pt x="5809" y="437"/>
                  <a:pt x="5809" y="471"/>
                </a:cubicBezTo>
                <a:lnTo>
                  <a:pt x="5609" y="471"/>
                </a:lnTo>
                <a:close/>
              </a:path>
            </a:pathLst>
          </a:custGeom>
          <a:solidFill>
            <a:srgbClr val="FFFFFF"/>
          </a:solidFill>
          <a:ln>
            <a:noFill/>
          </a:ln>
          <a:extLst/>
        </p:spPr>
        <p:txBody>
          <a:bodyPr vert="horz" wrap="square" lIns="89582" tIns="44793" rIns="89582" bIns="44793" numCol="1" anchor="t" anchorCtr="0" compatLnSpc="1">
            <a:prstTxWarp prst="textNoShape">
              <a:avLst/>
            </a:prstTxWarp>
          </a:bodyPr>
          <a:lstStyle/>
          <a:p>
            <a:pPr defTabSz="908230">
              <a:defRPr/>
            </a:pPr>
            <a:endParaRPr lang="en-US" sz="1765" kern="0">
              <a:solidFill>
                <a:srgbClr val="505050"/>
              </a:solidFill>
            </a:endParaRPr>
          </a:p>
        </p:txBody>
      </p:sp>
      <p:sp>
        <p:nvSpPr>
          <p:cNvPr id="21" name="Freeform 6"/>
          <p:cNvSpPr>
            <a:spLocks noChangeAspect="1" noEditPoints="1"/>
          </p:cNvSpPr>
          <p:nvPr/>
        </p:nvSpPr>
        <p:spPr bwMode="auto">
          <a:xfrm>
            <a:off x="6363291" y="4018308"/>
            <a:ext cx="1738894" cy="306011"/>
          </a:xfrm>
          <a:custGeom>
            <a:avLst/>
            <a:gdLst>
              <a:gd name="T0" fmla="*/ 136 w 2517"/>
              <a:gd name="T1" fmla="*/ 247 h 443"/>
              <a:gd name="T2" fmla="*/ 74 w 2517"/>
              <a:gd name="T3" fmla="*/ 293 h 443"/>
              <a:gd name="T4" fmla="*/ 200 w 2517"/>
              <a:gd name="T5" fmla="*/ 430 h 443"/>
              <a:gd name="T6" fmla="*/ 98 w 2517"/>
              <a:gd name="T7" fmla="*/ 323 h 443"/>
              <a:gd name="T8" fmla="*/ 103 w 2517"/>
              <a:gd name="T9" fmla="*/ 413 h 443"/>
              <a:gd name="T10" fmla="*/ 108 w 2517"/>
              <a:gd name="T11" fmla="*/ 414 h 443"/>
              <a:gd name="T12" fmla="*/ 231 w 2517"/>
              <a:gd name="T13" fmla="*/ 318 h 443"/>
              <a:gd name="T14" fmla="*/ 103 w 2517"/>
              <a:gd name="T15" fmla="*/ 33 h 443"/>
              <a:gd name="T16" fmla="*/ 175 w 2517"/>
              <a:gd name="T17" fmla="*/ 42 h 443"/>
              <a:gd name="T18" fmla="*/ 400 w 2517"/>
              <a:gd name="T19" fmla="*/ 174 h 443"/>
              <a:gd name="T20" fmla="*/ 220 w 2517"/>
              <a:gd name="T21" fmla="*/ 155 h 443"/>
              <a:gd name="T22" fmla="*/ 151 w 2517"/>
              <a:gd name="T23" fmla="*/ 196 h 443"/>
              <a:gd name="T24" fmla="*/ 159 w 2517"/>
              <a:gd name="T25" fmla="*/ 203 h 443"/>
              <a:gd name="T26" fmla="*/ 277 w 2517"/>
              <a:gd name="T27" fmla="*/ 191 h 443"/>
              <a:gd name="T28" fmla="*/ 173 w 2517"/>
              <a:gd name="T29" fmla="*/ 81 h 443"/>
              <a:gd name="T30" fmla="*/ 286 w 2517"/>
              <a:gd name="T31" fmla="*/ 189 h 443"/>
              <a:gd name="T32" fmla="*/ 251 w 2517"/>
              <a:gd name="T33" fmla="*/ 419 h 443"/>
              <a:gd name="T34" fmla="*/ 234 w 2517"/>
              <a:gd name="T35" fmla="*/ 413 h 443"/>
              <a:gd name="T36" fmla="*/ 457 w 2517"/>
              <a:gd name="T37" fmla="*/ 375 h 443"/>
              <a:gd name="T38" fmla="*/ 540 w 2517"/>
              <a:gd name="T39" fmla="*/ 178 h 443"/>
              <a:gd name="T40" fmla="*/ 561 w 2517"/>
              <a:gd name="T41" fmla="*/ 441 h 443"/>
              <a:gd name="T42" fmla="*/ 692 w 2517"/>
              <a:gd name="T43" fmla="*/ 231 h 443"/>
              <a:gd name="T44" fmla="*/ 713 w 2517"/>
              <a:gd name="T45" fmla="*/ 240 h 443"/>
              <a:gd name="T46" fmla="*/ 857 w 2517"/>
              <a:gd name="T47" fmla="*/ 379 h 443"/>
              <a:gd name="T48" fmla="*/ 842 w 2517"/>
              <a:gd name="T49" fmla="*/ 332 h 443"/>
              <a:gd name="T50" fmla="*/ 908 w 2517"/>
              <a:gd name="T51" fmla="*/ 360 h 443"/>
              <a:gd name="T52" fmla="*/ 992 w 2517"/>
              <a:gd name="T53" fmla="*/ 290 h 443"/>
              <a:gd name="T54" fmla="*/ 1074 w 2517"/>
              <a:gd name="T55" fmla="*/ 260 h 443"/>
              <a:gd name="T56" fmla="*/ 1245 w 2517"/>
              <a:gd name="T57" fmla="*/ 287 h 443"/>
              <a:gd name="T58" fmla="*/ 1343 w 2517"/>
              <a:gd name="T59" fmla="*/ 277 h 443"/>
              <a:gd name="T60" fmla="*/ 1506 w 2517"/>
              <a:gd name="T61" fmla="*/ 360 h 443"/>
              <a:gd name="T62" fmla="*/ 1589 w 2517"/>
              <a:gd name="T63" fmla="*/ 290 h 443"/>
              <a:gd name="T64" fmla="*/ 1661 w 2517"/>
              <a:gd name="T65" fmla="*/ 255 h 443"/>
              <a:gd name="T66" fmla="*/ 1799 w 2517"/>
              <a:gd name="T67" fmla="*/ 196 h 443"/>
              <a:gd name="T68" fmla="*/ 1894 w 2517"/>
              <a:gd name="T69" fmla="*/ 309 h 443"/>
              <a:gd name="T70" fmla="*/ 1996 w 2517"/>
              <a:gd name="T71" fmla="*/ 309 h 443"/>
              <a:gd name="T72" fmla="*/ 2021 w 2517"/>
              <a:gd name="T73" fmla="*/ 375 h 443"/>
              <a:gd name="T74" fmla="*/ 512 w 2517"/>
              <a:gd name="T75" fmla="*/ 87 h 443"/>
              <a:gd name="T76" fmla="*/ 457 w 2517"/>
              <a:gd name="T77" fmla="*/ 77 h 443"/>
              <a:gd name="T78" fmla="*/ 537 w 2517"/>
              <a:gd name="T79" fmla="*/ 79 h 443"/>
              <a:gd name="T80" fmla="*/ 566 w 2517"/>
              <a:gd name="T81" fmla="*/ 144 h 443"/>
              <a:gd name="T82" fmla="*/ 598 w 2517"/>
              <a:gd name="T83" fmla="*/ 148 h 443"/>
              <a:gd name="T84" fmla="*/ 633 w 2517"/>
              <a:gd name="T85" fmla="*/ 97 h 443"/>
              <a:gd name="T86" fmla="*/ 684 w 2517"/>
              <a:gd name="T87" fmla="*/ 124 h 443"/>
              <a:gd name="T88" fmla="*/ 702 w 2517"/>
              <a:gd name="T89" fmla="*/ 148 h 443"/>
              <a:gd name="T90" fmla="*/ 720 w 2517"/>
              <a:gd name="T91" fmla="*/ 104 h 443"/>
              <a:gd name="T92" fmla="*/ 750 w 2517"/>
              <a:gd name="T93" fmla="*/ 104 h 443"/>
              <a:gd name="T94" fmla="*/ 785 w 2517"/>
              <a:gd name="T95" fmla="*/ 124 h 443"/>
              <a:gd name="T96" fmla="*/ 799 w 2517"/>
              <a:gd name="T97" fmla="*/ 98 h 443"/>
              <a:gd name="T98" fmla="*/ 833 w 2517"/>
              <a:gd name="T99" fmla="*/ 98 h 443"/>
              <a:gd name="T100" fmla="*/ 863 w 2517"/>
              <a:gd name="T101" fmla="*/ 149 h 443"/>
              <a:gd name="T102" fmla="*/ 884 w 2517"/>
              <a:gd name="T103" fmla="*/ 89 h 443"/>
              <a:gd name="T104" fmla="*/ 881 w 2517"/>
              <a:gd name="T105" fmla="*/ 111 h 443"/>
              <a:gd name="T106" fmla="*/ 887 w 2517"/>
              <a:gd name="T107" fmla="*/ 95 h 443"/>
              <a:gd name="T108" fmla="*/ 2173 w 2517"/>
              <a:gd name="T109" fmla="*/ 236 h 443"/>
              <a:gd name="T110" fmla="*/ 2130 w 2517"/>
              <a:gd name="T111" fmla="*/ 375 h 443"/>
              <a:gd name="T112" fmla="*/ 2255 w 2517"/>
              <a:gd name="T113" fmla="*/ 353 h 443"/>
              <a:gd name="T114" fmla="*/ 2387 w 2517"/>
              <a:gd name="T115" fmla="*/ 367 h 443"/>
              <a:gd name="T116" fmla="*/ 2441 w 2517"/>
              <a:gd name="T117" fmla="*/ 24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7" h="443">
                <a:moveTo>
                  <a:pt x="241" y="208"/>
                </a:moveTo>
                <a:cubicBezTo>
                  <a:pt x="241" y="206"/>
                  <a:pt x="234" y="210"/>
                  <a:pt x="232" y="211"/>
                </a:cubicBezTo>
                <a:cubicBezTo>
                  <a:pt x="234" y="225"/>
                  <a:pt x="235" y="239"/>
                  <a:pt x="236" y="252"/>
                </a:cubicBezTo>
                <a:cubicBezTo>
                  <a:pt x="223" y="246"/>
                  <a:pt x="198" y="229"/>
                  <a:pt x="191" y="224"/>
                </a:cubicBezTo>
                <a:cubicBezTo>
                  <a:pt x="187" y="226"/>
                  <a:pt x="187" y="226"/>
                  <a:pt x="187" y="226"/>
                </a:cubicBezTo>
                <a:cubicBezTo>
                  <a:pt x="187" y="225"/>
                  <a:pt x="187" y="225"/>
                  <a:pt x="187" y="224"/>
                </a:cubicBezTo>
                <a:cubicBezTo>
                  <a:pt x="180" y="226"/>
                  <a:pt x="180" y="226"/>
                  <a:pt x="180" y="226"/>
                </a:cubicBezTo>
                <a:cubicBezTo>
                  <a:pt x="178" y="228"/>
                  <a:pt x="179" y="226"/>
                  <a:pt x="179" y="229"/>
                </a:cubicBezTo>
                <a:cubicBezTo>
                  <a:pt x="181" y="246"/>
                  <a:pt x="178" y="265"/>
                  <a:pt x="171" y="285"/>
                </a:cubicBezTo>
                <a:cubicBezTo>
                  <a:pt x="158" y="274"/>
                  <a:pt x="146" y="258"/>
                  <a:pt x="143" y="243"/>
                </a:cubicBezTo>
                <a:cubicBezTo>
                  <a:pt x="141" y="244"/>
                  <a:pt x="140" y="244"/>
                  <a:pt x="138" y="245"/>
                </a:cubicBezTo>
                <a:cubicBezTo>
                  <a:pt x="137" y="245"/>
                  <a:pt x="136" y="245"/>
                  <a:pt x="136" y="247"/>
                </a:cubicBezTo>
                <a:cubicBezTo>
                  <a:pt x="142" y="266"/>
                  <a:pt x="157" y="282"/>
                  <a:pt x="167" y="291"/>
                </a:cubicBezTo>
                <a:cubicBezTo>
                  <a:pt x="155" y="295"/>
                  <a:pt x="141" y="301"/>
                  <a:pt x="125" y="306"/>
                </a:cubicBezTo>
                <a:cubicBezTo>
                  <a:pt x="120" y="308"/>
                  <a:pt x="112" y="310"/>
                  <a:pt x="104" y="313"/>
                </a:cubicBezTo>
                <a:cubicBezTo>
                  <a:pt x="112" y="302"/>
                  <a:pt x="130" y="267"/>
                  <a:pt x="136" y="245"/>
                </a:cubicBezTo>
                <a:cubicBezTo>
                  <a:pt x="126" y="249"/>
                  <a:pt x="126" y="249"/>
                  <a:pt x="126" y="249"/>
                </a:cubicBezTo>
                <a:cubicBezTo>
                  <a:pt x="116" y="274"/>
                  <a:pt x="99" y="301"/>
                  <a:pt x="92" y="312"/>
                </a:cubicBezTo>
                <a:cubicBezTo>
                  <a:pt x="92" y="312"/>
                  <a:pt x="92" y="313"/>
                  <a:pt x="91" y="313"/>
                </a:cubicBezTo>
                <a:cubicBezTo>
                  <a:pt x="84" y="301"/>
                  <a:pt x="82" y="286"/>
                  <a:pt x="87" y="270"/>
                </a:cubicBezTo>
                <a:cubicBezTo>
                  <a:pt x="87" y="270"/>
                  <a:pt x="87" y="270"/>
                  <a:pt x="87" y="270"/>
                </a:cubicBezTo>
                <a:cubicBezTo>
                  <a:pt x="88" y="267"/>
                  <a:pt x="79" y="274"/>
                  <a:pt x="78" y="275"/>
                </a:cubicBezTo>
                <a:cubicBezTo>
                  <a:pt x="75" y="276"/>
                  <a:pt x="75" y="278"/>
                  <a:pt x="75" y="280"/>
                </a:cubicBezTo>
                <a:cubicBezTo>
                  <a:pt x="74" y="284"/>
                  <a:pt x="74" y="289"/>
                  <a:pt x="74" y="293"/>
                </a:cubicBezTo>
                <a:cubicBezTo>
                  <a:pt x="74" y="302"/>
                  <a:pt x="77" y="311"/>
                  <a:pt x="82" y="320"/>
                </a:cubicBezTo>
                <a:cubicBezTo>
                  <a:pt x="62" y="326"/>
                  <a:pt x="38" y="333"/>
                  <a:pt x="16" y="339"/>
                </a:cubicBezTo>
                <a:cubicBezTo>
                  <a:pt x="16" y="338"/>
                  <a:pt x="16" y="337"/>
                  <a:pt x="17" y="336"/>
                </a:cubicBezTo>
                <a:cubicBezTo>
                  <a:pt x="20" y="320"/>
                  <a:pt x="36" y="300"/>
                  <a:pt x="54" y="290"/>
                </a:cubicBezTo>
                <a:cubicBezTo>
                  <a:pt x="59" y="284"/>
                  <a:pt x="59" y="284"/>
                  <a:pt x="59" y="284"/>
                </a:cubicBezTo>
                <a:cubicBezTo>
                  <a:pt x="34" y="302"/>
                  <a:pt x="34" y="302"/>
                  <a:pt x="34" y="302"/>
                </a:cubicBezTo>
                <a:cubicBezTo>
                  <a:pt x="22" y="312"/>
                  <a:pt x="8" y="328"/>
                  <a:pt x="5" y="342"/>
                </a:cubicBezTo>
                <a:cubicBezTo>
                  <a:pt x="0" y="363"/>
                  <a:pt x="16" y="380"/>
                  <a:pt x="33" y="392"/>
                </a:cubicBezTo>
                <a:cubicBezTo>
                  <a:pt x="52" y="405"/>
                  <a:pt x="71" y="412"/>
                  <a:pt x="94" y="418"/>
                </a:cubicBezTo>
                <a:cubicBezTo>
                  <a:pt x="119" y="425"/>
                  <a:pt x="169" y="432"/>
                  <a:pt x="194" y="432"/>
                </a:cubicBezTo>
                <a:cubicBezTo>
                  <a:pt x="196" y="432"/>
                  <a:pt x="199" y="432"/>
                  <a:pt x="199" y="432"/>
                </a:cubicBezTo>
                <a:cubicBezTo>
                  <a:pt x="199" y="432"/>
                  <a:pt x="200" y="430"/>
                  <a:pt x="200" y="430"/>
                </a:cubicBezTo>
                <a:cubicBezTo>
                  <a:pt x="202" y="426"/>
                  <a:pt x="232" y="370"/>
                  <a:pt x="240" y="323"/>
                </a:cubicBezTo>
                <a:cubicBezTo>
                  <a:pt x="245" y="292"/>
                  <a:pt x="249" y="249"/>
                  <a:pt x="241" y="208"/>
                </a:cubicBezTo>
                <a:close/>
                <a:moveTo>
                  <a:pt x="187" y="228"/>
                </a:moveTo>
                <a:cubicBezTo>
                  <a:pt x="198" y="235"/>
                  <a:pt x="226" y="252"/>
                  <a:pt x="235" y="255"/>
                </a:cubicBezTo>
                <a:cubicBezTo>
                  <a:pt x="223" y="265"/>
                  <a:pt x="205" y="275"/>
                  <a:pt x="179" y="286"/>
                </a:cubicBezTo>
                <a:cubicBezTo>
                  <a:pt x="187" y="260"/>
                  <a:pt x="188" y="240"/>
                  <a:pt x="187" y="228"/>
                </a:cubicBezTo>
                <a:close/>
                <a:moveTo>
                  <a:pt x="133" y="313"/>
                </a:moveTo>
                <a:cubicBezTo>
                  <a:pt x="145" y="309"/>
                  <a:pt x="156" y="304"/>
                  <a:pt x="166" y="300"/>
                </a:cubicBezTo>
                <a:cubicBezTo>
                  <a:pt x="158" y="320"/>
                  <a:pt x="148" y="339"/>
                  <a:pt x="138" y="356"/>
                </a:cubicBezTo>
                <a:cubicBezTo>
                  <a:pt x="138" y="356"/>
                  <a:pt x="137" y="356"/>
                  <a:pt x="137" y="356"/>
                </a:cubicBezTo>
                <a:cubicBezTo>
                  <a:pt x="132" y="354"/>
                  <a:pt x="128" y="351"/>
                  <a:pt x="123" y="347"/>
                </a:cubicBezTo>
                <a:cubicBezTo>
                  <a:pt x="113" y="340"/>
                  <a:pt x="105" y="332"/>
                  <a:pt x="98" y="323"/>
                </a:cubicBezTo>
                <a:cubicBezTo>
                  <a:pt x="110" y="320"/>
                  <a:pt x="121" y="317"/>
                  <a:pt x="133" y="313"/>
                </a:cubicBezTo>
                <a:close/>
                <a:moveTo>
                  <a:pt x="16" y="343"/>
                </a:moveTo>
                <a:cubicBezTo>
                  <a:pt x="37" y="338"/>
                  <a:pt x="60" y="333"/>
                  <a:pt x="82" y="327"/>
                </a:cubicBezTo>
                <a:cubicBezTo>
                  <a:pt x="66" y="352"/>
                  <a:pt x="51" y="370"/>
                  <a:pt x="43" y="384"/>
                </a:cubicBezTo>
                <a:cubicBezTo>
                  <a:pt x="30" y="374"/>
                  <a:pt x="17" y="358"/>
                  <a:pt x="16" y="343"/>
                </a:cubicBezTo>
                <a:close/>
                <a:moveTo>
                  <a:pt x="46" y="386"/>
                </a:moveTo>
                <a:cubicBezTo>
                  <a:pt x="59" y="366"/>
                  <a:pt x="75" y="349"/>
                  <a:pt x="90" y="331"/>
                </a:cubicBezTo>
                <a:cubicBezTo>
                  <a:pt x="94" y="335"/>
                  <a:pt x="98" y="339"/>
                  <a:pt x="102" y="343"/>
                </a:cubicBezTo>
                <a:cubicBezTo>
                  <a:pt x="109" y="350"/>
                  <a:pt x="118" y="356"/>
                  <a:pt x="127" y="360"/>
                </a:cubicBezTo>
                <a:cubicBezTo>
                  <a:pt x="101" y="370"/>
                  <a:pt x="74" y="379"/>
                  <a:pt x="49" y="388"/>
                </a:cubicBezTo>
                <a:cubicBezTo>
                  <a:pt x="48" y="387"/>
                  <a:pt x="47" y="387"/>
                  <a:pt x="46" y="386"/>
                </a:cubicBezTo>
                <a:close/>
                <a:moveTo>
                  <a:pt x="103" y="413"/>
                </a:moveTo>
                <a:cubicBezTo>
                  <a:pt x="101" y="412"/>
                  <a:pt x="100" y="412"/>
                  <a:pt x="99" y="411"/>
                </a:cubicBezTo>
                <a:cubicBezTo>
                  <a:pt x="76" y="404"/>
                  <a:pt x="66" y="399"/>
                  <a:pt x="52" y="390"/>
                </a:cubicBezTo>
                <a:cubicBezTo>
                  <a:pt x="62" y="387"/>
                  <a:pt x="108" y="375"/>
                  <a:pt x="131" y="368"/>
                </a:cubicBezTo>
                <a:cubicBezTo>
                  <a:pt x="118" y="388"/>
                  <a:pt x="107" y="405"/>
                  <a:pt x="103" y="413"/>
                </a:cubicBezTo>
                <a:cubicBezTo>
                  <a:pt x="103" y="413"/>
                  <a:pt x="103" y="413"/>
                  <a:pt x="103" y="413"/>
                </a:cubicBezTo>
                <a:close/>
                <a:moveTo>
                  <a:pt x="196" y="429"/>
                </a:moveTo>
                <a:cubicBezTo>
                  <a:pt x="178" y="427"/>
                  <a:pt x="142" y="421"/>
                  <a:pt x="118" y="416"/>
                </a:cubicBezTo>
                <a:cubicBezTo>
                  <a:pt x="151" y="408"/>
                  <a:pt x="174" y="405"/>
                  <a:pt x="212" y="387"/>
                </a:cubicBezTo>
                <a:cubicBezTo>
                  <a:pt x="206" y="405"/>
                  <a:pt x="199" y="422"/>
                  <a:pt x="196" y="429"/>
                </a:cubicBezTo>
                <a:close/>
                <a:moveTo>
                  <a:pt x="111" y="414"/>
                </a:moveTo>
                <a:cubicBezTo>
                  <a:pt x="111" y="415"/>
                  <a:pt x="111" y="415"/>
                  <a:pt x="111" y="415"/>
                </a:cubicBezTo>
                <a:cubicBezTo>
                  <a:pt x="110" y="414"/>
                  <a:pt x="109" y="414"/>
                  <a:pt x="108" y="414"/>
                </a:cubicBezTo>
                <a:cubicBezTo>
                  <a:pt x="121" y="398"/>
                  <a:pt x="132" y="383"/>
                  <a:pt x="142" y="368"/>
                </a:cubicBezTo>
                <a:cubicBezTo>
                  <a:pt x="175" y="381"/>
                  <a:pt x="208" y="384"/>
                  <a:pt x="212" y="384"/>
                </a:cubicBezTo>
                <a:cubicBezTo>
                  <a:pt x="196" y="390"/>
                  <a:pt x="115" y="413"/>
                  <a:pt x="111" y="414"/>
                </a:cubicBezTo>
                <a:close/>
                <a:moveTo>
                  <a:pt x="229" y="328"/>
                </a:moveTo>
                <a:cubicBezTo>
                  <a:pt x="226" y="341"/>
                  <a:pt x="220" y="362"/>
                  <a:pt x="213" y="382"/>
                </a:cubicBezTo>
                <a:cubicBezTo>
                  <a:pt x="192" y="378"/>
                  <a:pt x="168" y="372"/>
                  <a:pt x="147" y="362"/>
                </a:cubicBezTo>
                <a:cubicBezTo>
                  <a:pt x="170" y="352"/>
                  <a:pt x="217" y="331"/>
                  <a:pt x="230" y="322"/>
                </a:cubicBezTo>
                <a:cubicBezTo>
                  <a:pt x="230" y="324"/>
                  <a:pt x="229" y="326"/>
                  <a:pt x="229" y="328"/>
                </a:cubicBezTo>
                <a:close/>
                <a:moveTo>
                  <a:pt x="231" y="318"/>
                </a:moveTo>
                <a:cubicBezTo>
                  <a:pt x="217" y="326"/>
                  <a:pt x="173" y="344"/>
                  <a:pt x="152" y="351"/>
                </a:cubicBezTo>
                <a:cubicBezTo>
                  <a:pt x="163" y="332"/>
                  <a:pt x="170" y="313"/>
                  <a:pt x="176" y="297"/>
                </a:cubicBezTo>
                <a:cubicBezTo>
                  <a:pt x="199" y="311"/>
                  <a:pt x="223" y="317"/>
                  <a:pt x="231" y="318"/>
                </a:cubicBezTo>
                <a:cubicBezTo>
                  <a:pt x="231" y="318"/>
                  <a:pt x="231" y="318"/>
                  <a:pt x="231" y="318"/>
                </a:cubicBezTo>
                <a:close/>
                <a:moveTo>
                  <a:pt x="231" y="316"/>
                </a:moveTo>
                <a:cubicBezTo>
                  <a:pt x="213" y="311"/>
                  <a:pt x="197" y="302"/>
                  <a:pt x="182" y="292"/>
                </a:cubicBezTo>
                <a:cubicBezTo>
                  <a:pt x="213" y="277"/>
                  <a:pt x="233" y="262"/>
                  <a:pt x="236" y="259"/>
                </a:cubicBezTo>
                <a:cubicBezTo>
                  <a:pt x="236" y="280"/>
                  <a:pt x="234" y="300"/>
                  <a:pt x="231" y="316"/>
                </a:cubicBezTo>
                <a:close/>
                <a:moveTo>
                  <a:pt x="87" y="60"/>
                </a:moveTo>
                <a:cubicBezTo>
                  <a:pt x="79" y="53"/>
                  <a:pt x="88" y="44"/>
                  <a:pt x="93" y="40"/>
                </a:cubicBezTo>
                <a:cubicBezTo>
                  <a:pt x="95" y="38"/>
                  <a:pt x="98" y="36"/>
                  <a:pt x="100" y="35"/>
                </a:cubicBezTo>
                <a:cubicBezTo>
                  <a:pt x="107" y="43"/>
                  <a:pt x="123" y="64"/>
                  <a:pt x="130" y="71"/>
                </a:cubicBezTo>
                <a:cubicBezTo>
                  <a:pt x="141" y="70"/>
                  <a:pt x="141" y="70"/>
                  <a:pt x="141" y="70"/>
                </a:cubicBezTo>
                <a:cubicBezTo>
                  <a:pt x="135" y="65"/>
                  <a:pt x="110" y="40"/>
                  <a:pt x="103" y="33"/>
                </a:cubicBezTo>
                <a:cubicBezTo>
                  <a:pt x="103" y="33"/>
                  <a:pt x="103" y="33"/>
                  <a:pt x="103" y="33"/>
                </a:cubicBezTo>
                <a:cubicBezTo>
                  <a:pt x="115" y="38"/>
                  <a:pt x="155" y="46"/>
                  <a:pt x="177" y="47"/>
                </a:cubicBezTo>
                <a:cubicBezTo>
                  <a:pt x="177" y="47"/>
                  <a:pt x="177" y="47"/>
                  <a:pt x="177" y="47"/>
                </a:cubicBezTo>
                <a:cubicBezTo>
                  <a:pt x="169" y="51"/>
                  <a:pt x="156" y="58"/>
                  <a:pt x="141" y="67"/>
                </a:cubicBezTo>
                <a:cubicBezTo>
                  <a:pt x="150" y="69"/>
                  <a:pt x="150" y="69"/>
                  <a:pt x="150" y="69"/>
                </a:cubicBezTo>
                <a:cubicBezTo>
                  <a:pt x="162" y="63"/>
                  <a:pt x="170" y="58"/>
                  <a:pt x="178" y="50"/>
                </a:cubicBezTo>
                <a:cubicBezTo>
                  <a:pt x="182" y="59"/>
                  <a:pt x="187" y="68"/>
                  <a:pt x="193" y="78"/>
                </a:cubicBezTo>
                <a:cubicBezTo>
                  <a:pt x="202" y="79"/>
                  <a:pt x="202" y="79"/>
                  <a:pt x="202" y="79"/>
                </a:cubicBezTo>
                <a:cubicBezTo>
                  <a:pt x="185" y="49"/>
                  <a:pt x="172" y="23"/>
                  <a:pt x="167" y="0"/>
                </a:cubicBezTo>
                <a:cubicBezTo>
                  <a:pt x="154" y="4"/>
                  <a:pt x="86" y="28"/>
                  <a:pt x="74" y="45"/>
                </a:cubicBezTo>
                <a:cubicBezTo>
                  <a:pt x="69" y="51"/>
                  <a:pt x="83" y="57"/>
                  <a:pt x="87" y="60"/>
                </a:cubicBezTo>
                <a:close/>
                <a:moveTo>
                  <a:pt x="165" y="4"/>
                </a:moveTo>
                <a:cubicBezTo>
                  <a:pt x="167" y="16"/>
                  <a:pt x="170" y="29"/>
                  <a:pt x="175" y="42"/>
                </a:cubicBezTo>
                <a:cubicBezTo>
                  <a:pt x="159" y="38"/>
                  <a:pt x="120" y="32"/>
                  <a:pt x="107" y="30"/>
                </a:cubicBezTo>
                <a:cubicBezTo>
                  <a:pt x="130" y="17"/>
                  <a:pt x="162" y="5"/>
                  <a:pt x="165" y="4"/>
                </a:cubicBezTo>
                <a:close/>
                <a:moveTo>
                  <a:pt x="398" y="172"/>
                </a:moveTo>
                <a:cubicBezTo>
                  <a:pt x="374" y="135"/>
                  <a:pt x="338" y="101"/>
                  <a:pt x="231" y="81"/>
                </a:cubicBezTo>
                <a:cubicBezTo>
                  <a:pt x="208" y="77"/>
                  <a:pt x="181" y="73"/>
                  <a:pt x="134" y="65"/>
                </a:cubicBezTo>
                <a:cubicBezTo>
                  <a:pt x="117" y="62"/>
                  <a:pt x="68" y="55"/>
                  <a:pt x="74" y="44"/>
                </a:cubicBezTo>
                <a:cubicBezTo>
                  <a:pt x="71" y="48"/>
                  <a:pt x="73" y="52"/>
                  <a:pt x="76" y="54"/>
                </a:cubicBezTo>
                <a:cubicBezTo>
                  <a:pt x="100" y="82"/>
                  <a:pt x="135" y="99"/>
                  <a:pt x="135" y="156"/>
                </a:cubicBezTo>
                <a:cubicBezTo>
                  <a:pt x="135" y="208"/>
                  <a:pt x="88" y="257"/>
                  <a:pt x="41" y="296"/>
                </a:cubicBezTo>
                <a:cubicBezTo>
                  <a:pt x="39" y="298"/>
                  <a:pt x="36" y="300"/>
                  <a:pt x="33" y="302"/>
                </a:cubicBezTo>
                <a:cubicBezTo>
                  <a:pt x="90" y="267"/>
                  <a:pt x="126" y="253"/>
                  <a:pt x="170" y="236"/>
                </a:cubicBezTo>
                <a:cubicBezTo>
                  <a:pt x="226" y="214"/>
                  <a:pt x="336" y="183"/>
                  <a:pt x="400" y="174"/>
                </a:cubicBezTo>
                <a:lnTo>
                  <a:pt x="398" y="172"/>
                </a:lnTo>
                <a:close/>
                <a:moveTo>
                  <a:pt x="173" y="225"/>
                </a:moveTo>
                <a:cubicBezTo>
                  <a:pt x="173" y="212"/>
                  <a:pt x="170" y="203"/>
                  <a:pt x="165" y="195"/>
                </a:cubicBezTo>
                <a:cubicBezTo>
                  <a:pt x="181" y="186"/>
                  <a:pt x="199" y="176"/>
                  <a:pt x="219" y="166"/>
                </a:cubicBezTo>
                <a:cubicBezTo>
                  <a:pt x="207" y="183"/>
                  <a:pt x="192" y="203"/>
                  <a:pt x="173" y="225"/>
                </a:cubicBezTo>
                <a:cubicBezTo>
                  <a:pt x="173" y="225"/>
                  <a:pt x="173" y="225"/>
                  <a:pt x="173" y="225"/>
                </a:cubicBezTo>
                <a:close/>
                <a:moveTo>
                  <a:pt x="178" y="81"/>
                </a:moveTo>
                <a:cubicBezTo>
                  <a:pt x="178" y="81"/>
                  <a:pt x="178" y="81"/>
                  <a:pt x="179" y="81"/>
                </a:cubicBezTo>
                <a:cubicBezTo>
                  <a:pt x="183" y="95"/>
                  <a:pt x="185" y="110"/>
                  <a:pt x="183" y="125"/>
                </a:cubicBezTo>
                <a:cubicBezTo>
                  <a:pt x="169" y="120"/>
                  <a:pt x="155" y="116"/>
                  <a:pt x="142" y="113"/>
                </a:cubicBezTo>
                <a:cubicBezTo>
                  <a:pt x="151" y="102"/>
                  <a:pt x="164" y="92"/>
                  <a:pt x="178" y="81"/>
                </a:cubicBezTo>
                <a:close/>
                <a:moveTo>
                  <a:pt x="220" y="155"/>
                </a:moveTo>
                <a:cubicBezTo>
                  <a:pt x="203" y="163"/>
                  <a:pt x="188" y="172"/>
                  <a:pt x="174" y="181"/>
                </a:cubicBezTo>
                <a:cubicBezTo>
                  <a:pt x="182" y="167"/>
                  <a:pt x="187" y="153"/>
                  <a:pt x="189" y="140"/>
                </a:cubicBezTo>
                <a:cubicBezTo>
                  <a:pt x="199" y="144"/>
                  <a:pt x="210" y="149"/>
                  <a:pt x="220" y="155"/>
                </a:cubicBezTo>
                <a:close/>
                <a:moveTo>
                  <a:pt x="197" y="130"/>
                </a:moveTo>
                <a:cubicBezTo>
                  <a:pt x="213" y="118"/>
                  <a:pt x="231" y="107"/>
                  <a:pt x="252" y="96"/>
                </a:cubicBezTo>
                <a:cubicBezTo>
                  <a:pt x="251" y="108"/>
                  <a:pt x="244" y="125"/>
                  <a:pt x="231" y="146"/>
                </a:cubicBezTo>
                <a:cubicBezTo>
                  <a:pt x="220" y="140"/>
                  <a:pt x="209" y="134"/>
                  <a:pt x="197" y="130"/>
                </a:cubicBezTo>
                <a:close/>
                <a:moveTo>
                  <a:pt x="142" y="175"/>
                </a:moveTo>
                <a:cubicBezTo>
                  <a:pt x="149" y="168"/>
                  <a:pt x="162" y="156"/>
                  <a:pt x="181" y="141"/>
                </a:cubicBezTo>
                <a:cubicBezTo>
                  <a:pt x="177" y="157"/>
                  <a:pt x="170" y="173"/>
                  <a:pt x="161" y="189"/>
                </a:cubicBezTo>
                <a:cubicBezTo>
                  <a:pt x="154" y="181"/>
                  <a:pt x="147" y="177"/>
                  <a:pt x="142" y="175"/>
                </a:cubicBezTo>
                <a:close/>
                <a:moveTo>
                  <a:pt x="151" y="196"/>
                </a:moveTo>
                <a:cubicBezTo>
                  <a:pt x="140" y="204"/>
                  <a:pt x="130" y="212"/>
                  <a:pt x="121" y="219"/>
                </a:cubicBezTo>
                <a:cubicBezTo>
                  <a:pt x="128" y="208"/>
                  <a:pt x="133" y="197"/>
                  <a:pt x="137" y="186"/>
                </a:cubicBezTo>
                <a:cubicBezTo>
                  <a:pt x="142" y="189"/>
                  <a:pt x="147" y="192"/>
                  <a:pt x="151" y="196"/>
                </a:cubicBezTo>
                <a:close/>
                <a:moveTo>
                  <a:pt x="176" y="135"/>
                </a:moveTo>
                <a:cubicBezTo>
                  <a:pt x="166" y="143"/>
                  <a:pt x="154" y="154"/>
                  <a:pt x="140" y="167"/>
                </a:cubicBezTo>
                <a:cubicBezTo>
                  <a:pt x="142" y="152"/>
                  <a:pt x="141" y="137"/>
                  <a:pt x="139" y="124"/>
                </a:cubicBezTo>
                <a:cubicBezTo>
                  <a:pt x="149" y="125"/>
                  <a:pt x="162" y="129"/>
                  <a:pt x="176" y="135"/>
                </a:cubicBezTo>
                <a:close/>
                <a:moveTo>
                  <a:pt x="149" y="206"/>
                </a:moveTo>
                <a:cubicBezTo>
                  <a:pt x="134" y="224"/>
                  <a:pt x="115" y="241"/>
                  <a:pt x="92" y="255"/>
                </a:cubicBezTo>
                <a:cubicBezTo>
                  <a:pt x="100" y="247"/>
                  <a:pt x="107" y="238"/>
                  <a:pt x="113" y="230"/>
                </a:cubicBezTo>
                <a:cubicBezTo>
                  <a:pt x="121" y="224"/>
                  <a:pt x="134" y="215"/>
                  <a:pt x="149" y="206"/>
                </a:cubicBezTo>
                <a:close/>
                <a:moveTo>
                  <a:pt x="159" y="203"/>
                </a:moveTo>
                <a:cubicBezTo>
                  <a:pt x="165" y="211"/>
                  <a:pt x="168" y="219"/>
                  <a:pt x="168" y="227"/>
                </a:cubicBezTo>
                <a:cubicBezTo>
                  <a:pt x="143" y="237"/>
                  <a:pt x="122" y="245"/>
                  <a:pt x="102" y="255"/>
                </a:cubicBezTo>
                <a:cubicBezTo>
                  <a:pt x="126" y="238"/>
                  <a:pt x="145" y="221"/>
                  <a:pt x="159" y="203"/>
                </a:cubicBezTo>
                <a:close/>
                <a:moveTo>
                  <a:pt x="232" y="163"/>
                </a:moveTo>
                <a:cubicBezTo>
                  <a:pt x="246" y="172"/>
                  <a:pt x="259" y="182"/>
                  <a:pt x="271" y="193"/>
                </a:cubicBezTo>
                <a:cubicBezTo>
                  <a:pt x="244" y="200"/>
                  <a:pt x="214" y="210"/>
                  <a:pt x="180" y="222"/>
                </a:cubicBezTo>
                <a:cubicBezTo>
                  <a:pt x="204" y="201"/>
                  <a:pt x="221" y="181"/>
                  <a:pt x="232" y="163"/>
                </a:cubicBezTo>
                <a:close/>
                <a:moveTo>
                  <a:pt x="243" y="154"/>
                </a:moveTo>
                <a:cubicBezTo>
                  <a:pt x="269" y="143"/>
                  <a:pt x="298" y="132"/>
                  <a:pt x="329" y="124"/>
                </a:cubicBezTo>
                <a:cubicBezTo>
                  <a:pt x="319" y="141"/>
                  <a:pt x="302" y="159"/>
                  <a:pt x="278" y="191"/>
                </a:cubicBezTo>
                <a:cubicBezTo>
                  <a:pt x="278" y="191"/>
                  <a:pt x="278" y="191"/>
                  <a:pt x="278" y="191"/>
                </a:cubicBezTo>
                <a:cubicBezTo>
                  <a:pt x="278" y="191"/>
                  <a:pt x="277" y="191"/>
                  <a:pt x="277" y="191"/>
                </a:cubicBezTo>
                <a:cubicBezTo>
                  <a:pt x="278" y="191"/>
                  <a:pt x="278" y="191"/>
                  <a:pt x="278" y="191"/>
                </a:cubicBezTo>
                <a:cubicBezTo>
                  <a:pt x="268" y="176"/>
                  <a:pt x="256" y="164"/>
                  <a:pt x="243" y="154"/>
                </a:cubicBezTo>
                <a:close/>
                <a:moveTo>
                  <a:pt x="324" y="120"/>
                </a:moveTo>
                <a:cubicBezTo>
                  <a:pt x="294" y="126"/>
                  <a:pt x="267" y="135"/>
                  <a:pt x="242" y="145"/>
                </a:cubicBezTo>
                <a:cubicBezTo>
                  <a:pt x="251" y="127"/>
                  <a:pt x="256" y="110"/>
                  <a:pt x="257" y="96"/>
                </a:cubicBezTo>
                <a:cubicBezTo>
                  <a:pt x="273" y="101"/>
                  <a:pt x="290" y="106"/>
                  <a:pt x="306" y="112"/>
                </a:cubicBezTo>
                <a:cubicBezTo>
                  <a:pt x="312" y="114"/>
                  <a:pt x="318" y="117"/>
                  <a:pt x="324" y="120"/>
                </a:cubicBezTo>
                <a:close/>
                <a:moveTo>
                  <a:pt x="245" y="94"/>
                </a:moveTo>
                <a:cubicBezTo>
                  <a:pt x="226" y="102"/>
                  <a:pt x="209" y="111"/>
                  <a:pt x="191" y="124"/>
                </a:cubicBezTo>
                <a:cubicBezTo>
                  <a:pt x="191" y="108"/>
                  <a:pt x="188" y="94"/>
                  <a:pt x="183" y="82"/>
                </a:cubicBezTo>
                <a:cubicBezTo>
                  <a:pt x="204" y="86"/>
                  <a:pt x="225" y="89"/>
                  <a:pt x="245" y="94"/>
                </a:cubicBezTo>
                <a:close/>
                <a:moveTo>
                  <a:pt x="173" y="81"/>
                </a:moveTo>
                <a:cubicBezTo>
                  <a:pt x="165" y="85"/>
                  <a:pt x="145" y="97"/>
                  <a:pt x="136" y="108"/>
                </a:cubicBezTo>
                <a:cubicBezTo>
                  <a:pt x="131" y="91"/>
                  <a:pt x="125" y="77"/>
                  <a:pt x="122" y="71"/>
                </a:cubicBezTo>
                <a:cubicBezTo>
                  <a:pt x="141" y="75"/>
                  <a:pt x="161" y="79"/>
                  <a:pt x="173" y="81"/>
                </a:cubicBezTo>
                <a:close/>
                <a:moveTo>
                  <a:pt x="90" y="62"/>
                </a:moveTo>
                <a:cubicBezTo>
                  <a:pt x="98" y="65"/>
                  <a:pt x="107" y="67"/>
                  <a:pt x="118" y="70"/>
                </a:cubicBezTo>
                <a:cubicBezTo>
                  <a:pt x="122" y="83"/>
                  <a:pt x="126" y="94"/>
                  <a:pt x="129" y="105"/>
                </a:cubicBezTo>
                <a:cubicBezTo>
                  <a:pt x="120" y="89"/>
                  <a:pt x="106" y="74"/>
                  <a:pt x="90" y="62"/>
                </a:cubicBezTo>
                <a:close/>
                <a:moveTo>
                  <a:pt x="286" y="189"/>
                </a:moveTo>
                <a:cubicBezTo>
                  <a:pt x="309" y="167"/>
                  <a:pt x="321" y="153"/>
                  <a:pt x="334" y="125"/>
                </a:cubicBezTo>
                <a:cubicBezTo>
                  <a:pt x="361" y="140"/>
                  <a:pt x="381" y="158"/>
                  <a:pt x="390" y="170"/>
                </a:cubicBezTo>
                <a:cubicBezTo>
                  <a:pt x="391" y="170"/>
                  <a:pt x="392" y="171"/>
                  <a:pt x="393" y="172"/>
                </a:cubicBezTo>
                <a:cubicBezTo>
                  <a:pt x="380" y="172"/>
                  <a:pt x="342" y="175"/>
                  <a:pt x="286" y="189"/>
                </a:cubicBezTo>
                <a:close/>
                <a:moveTo>
                  <a:pt x="230" y="415"/>
                </a:moveTo>
                <a:cubicBezTo>
                  <a:pt x="225" y="415"/>
                  <a:pt x="225" y="415"/>
                  <a:pt x="225" y="415"/>
                </a:cubicBezTo>
                <a:cubicBezTo>
                  <a:pt x="225" y="432"/>
                  <a:pt x="225" y="432"/>
                  <a:pt x="225" y="432"/>
                </a:cubicBezTo>
                <a:cubicBezTo>
                  <a:pt x="222" y="432"/>
                  <a:pt x="222" y="432"/>
                  <a:pt x="222" y="432"/>
                </a:cubicBezTo>
                <a:cubicBezTo>
                  <a:pt x="222" y="415"/>
                  <a:pt x="222" y="415"/>
                  <a:pt x="222" y="415"/>
                </a:cubicBezTo>
                <a:cubicBezTo>
                  <a:pt x="217" y="415"/>
                  <a:pt x="217" y="415"/>
                  <a:pt x="217" y="415"/>
                </a:cubicBezTo>
                <a:cubicBezTo>
                  <a:pt x="217" y="413"/>
                  <a:pt x="217" y="413"/>
                  <a:pt x="217" y="413"/>
                </a:cubicBezTo>
                <a:cubicBezTo>
                  <a:pt x="230" y="413"/>
                  <a:pt x="230" y="413"/>
                  <a:pt x="230" y="413"/>
                </a:cubicBezTo>
                <a:lnTo>
                  <a:pt x="230" y="415"/>
                </a:lnTo>
                <a:close/>
                <a:moveTo>
                  <a:pt x="254" y="432"/>
                </a:moveTo>
                <a:cubicBezTo>
                  <a:pt x="251" y="432"/>
                  <a:pt x="251" y="432"/>
                  <a:pt x="251" y="432"/>
                </a:cubicBezTo>
                <a:cubicBezTo>
                  <a:pt x="251" y="419"/>
                  <a:pt x="251" y="419"/>
                  <a:pt x="251" y="419"/>
                </a:cubicBezTo>
                <a:cubicBezTo>
                  <a:pt x="251" y="418"/>
                  <a:pt x="251" y="417"/>
                  <a:pt x="251" y="415"/>
                </a:cubicBezTo>
                <a:cubicBezTo>
                  <a:pt x="251" y="415"/>
                  <a:pt x="251" y="415"/>
                  <a:pt x="251" y="415"/>
                </a:cubicBezTo>
                <a:cubicBezTo>
                  <a:pt x="251" y="416"/>
                  <a:pt x="251" y="417"/>
                  <a:pt x="251" y="417"/>
                </a:cubicBezTo>
                <a:cubicBezTo>
                  <a:pt x="244" y="432"/>
                  <a:pt x="244" y="432"/>
                  <a:pt x="244" y="432"/>
                </a:cubicBezTo>
                <a:cubicBezTo>
                  <a:pt x="243" y="432"/>
                  <a:pt x="243" y="432"/>
                  <a:pt x="243" y="432"/>
                </a:cubicBezTo>
                <a:cubicBezTo>
                  <a:pt x="236" y="417"/>
                  <a:pt x="236" y="417"/>
                  <a:pt x="236" y="417"/>
                </a:cubicBezTo>
                <a:cubicBezTo>
                  <a:pt x="236" y="417"/>
                  <a:pt x="236" y="416"/>
                  <a:pt x="236" y="415"/>
                </a:cubicBezTo>
                <a:cubicBezTo>
                  <a:pt x="236" y="415"/>
                  <a:pt x="236" y="415"/>
                  <a:pt x="236" y="415"/>
                </a:cubicBezTo>
                <a:cubicBezTo>
                  <a:pt x="236" y="416"/>
                  <a:pt x="236" y="417"/>
                  <a:pt x="236" y="419"/>
                </a:cubicBezTo>
                <a:cubicBezTo>
                  <a:pt x="236" y="432"/>
                  <a:pt x="236" y="432"/>
                  <a:pt x="236" y="432"/>
                </a:cubicBezTo>
                <a:cubicBezTo>
                  <a:pt x="234" y="432"/>
                  <a:pt x="234" y="432"/>
                  <a:pt x="234" y="432"/>
                </a:cubicBezTo>
                <a:cubicBezTo>
                  <a:pt x="234" y="413"/>
                  <a:pt x="234" y="413"/>
                  <a:pt x="234" y="413"/>
                </a:cubicBezTo>
                <a:cubicBezTo>
                  <a:pt x="237" y="413"/>
                  <a:pt x="237" y="413"/>
                  <a:pt x="237" y="413"/>
                </a:cubicBezTo>
                <a:cubicBezTo>
                  <a:pt x="243" y="426"/>
                  <a:pt x="243" y="426"/>
                  <a:pt x="243" y="426"/>
                </a:cubicBezTo>
                <a:cubicBezTo>
                  <a:pt x="243" y="427"/>
                  <a:pt x="243" y="428"/>
                  <a:pt x="243" y="429"/>
                </a:cubicBezTo>
                <a:cubicBezTo>
                  <a:pt x="244" y="429"/>
                  <a:pt x="244" y="429"/>
                  <a:pt x="244" y="429"/>
                </a:cubicBezTo>
                <a:cubicBezTo>
                  <a:pt x="244" y="427"/>
                  <a:pt x="244" y="427"/>
                  <a:pt x="244" y="426"/>
                </a:cubicBezTo>
                <a:cubicBezTo>
                  <a:pt x="251" y="413"/>
                  <a:pt x="251" y="413"/>
                  <a:pt x="251" y="413"/>
                </a:cubicBezTo>
                <a:cubicBezTo>
                  <a:pt x="254" y="413"/>
                  <a:pt x="254" y="413"/>
                  <a:pt x="254" y="413"/>
                </a:cubicBezTo>
                <a:lnTo>
                  <a:pt x="254" y="432"/>
                </a:lnTo>
                <a:close/>
                <a:moveTo>
                  <a:pt x="549" y="325"/>
                </a:moveTo>
                <a:cubicBezTo>
                  <a:pt x="549" y="340"/>
                  <a:pt x="544" y="353"/>
                  <a:pt x="533" y="363"/>
                </a:cubicBezTo>
                <a:cubicBezTo>
                  <a:pt x="521" y="374"/>
                  <a:pt x="504" y="379"/>
                  <a:pt x="482" y="379"/>
                </a:cubicBezTo>
                <a:cubicBezTo>
                  <a:pt x="474" y="379"/>
                  <a:pt x="466" y="378"/>
                  <a:pt x="457" y="375"/>
                </a:cubicBezTo>
                <a:cubicBezTo>
                  <a:pt x="448" y="373"/>
                  <a:pt x="441" y="370"/>
                  <a:pt x="436" y="367"/>
                </a:cubicBezTo>
                <a:cubicBezTo>
                  <a:pt x="436" y="339"/>
                  <a:pt x="436" y="339"/>
                  <a:pt x="436" y="339"/>
                </a:cubicBezTo>
                <a:cubicBezTo>
                  <a:pt x="443" y="345"/>
                  <a:pt x="451" y="350"/>
                  <a:pt x="460" y="353"/>
                </a:cubicBezTo>
                <a:cubicBezTo>
                  <a:pt x="469" y="356"/>
                  <a:pt x="477" y="358"/>
                  <a:pt x="485" y="358"/>
                </a:cubicBezTo>
                <a:cubicBezTo>
                  <a:pt x="511" y="358"/>
                  <a:pt x="524" y="348"/>
                  <a:pt x="524" y="327"/>
                </a:cubicBezTo>
                <a:cubicBezTo>
                  <a:pt x="524" y="319"/>
                  <a:pt x="521" y="311"/>
                  <a:pt x="514" y="304"/>
                </a:cubicBezTo>
                <a:cubicBezTo>
                  <a:pt x="508" y="298"/>
                  <a:pt x="497" y="291"/>
                  <a:pt x="482" y="282"/>
                </a:cubicBezTo>
                <a:cubicBezTo>
                  <a:pt x="465" y="272"/>
                  <a:pt x="453" y="263"/>
                  <a:pt x="447" y="255"/>
                </a:cubicBezTo>
                <a:cubicBezTo>
                  <a:pt x="440" y="246"/>
                  <a:pt x="437" y="236"/>
                  <a:pt x="437" y="224"/>
                </a:cubicBezTo>
                <a:cubicBezTo>
                  <a:pt x="437" y="209"/>
                  <a:pt x="442" y="196"/>
                  <a:pt x="454" y="186"/>
                </a:cubicBezTo>
                <a:cubicBezTo>
                  <a:pt x="466" y="176"/>
                  <a:pt x="481" y="170"/>
                  <a:pt x="501" y="170"/>
                </a:cubicBezTo>
                <a:cubicBezTo>
                  <a:pt x="519" y="170"/>
                  <a:pt x="532" y="173"/>
                  <a:pt x="540" y="178"/>
                </a:cubicBezTo>
                <a:cubicBezTo>
                  <a:pt x="540" y="204"/>
                  <a:pt x="540" y="204"/>
                  <a:pt x="540" y="204"/>
                </a:cubicBezTo>
                <a:cubicBezTo>
                  <a:pt x="530" y="196"/>
                  <a:pt x="516" y="192"/>
                  <a:pt x="499" y="192"/>
                </a:cubicBezTo>
                <a:cubicBezTo>
                  <a:pt x="488" y="192"/>
                  <a:pt x="478" y="195"/>
                  <a:pt x="471" y="201"/>
                </a:cubicBezTo>
                <a:cubicBezTo>
                  <a:pt x="465" y="206"/>
                  <a:pt x="461" y="213"/>
                  <a:pt x="461" y="222"/>
                </a:cubicBezTo>
                <a:cubicBezTo>
                  <a:pt x="461" y="232"/>
                  <a:pt x="464" y="239"/>
                  <a:pt x="470" y="246"/>
                </a:cubicBezTo>
                <a:cubicBezTo>
                  <a:pt x="476" y="251"/>
                  <a:pt x="486" y="258"/>
                  <a:pt x="501" y="266"/>
                </a:cubicBezTo>
                <a:cubicBezTo>
                  <a:pt x="517" y="275"/>
                  <a:pt x="529" y="284"/>
                  <a:pt x="536" y="292"/>
                </a:cubicBezTo>
                <a:cubicBezTo>
                  <a:pt x="545" y="302"/>
                  <a:pt x="549" y="313"/>
                  <a:pt x="549" y="325"/>
                </a:cubicBezTo>
                <a:close/>
                <a:moveTo>
                  <a:pt x="692" y="231"/>
                </a:moveTo>
                <a:cubicBezTo>
                  <a:pt x="626" y="399"/>
                  <a:pt x="626" y="399"/>
                  <a:pt x="626" y="399"/>
                </a:cubicBezTo>
                <a:cubicBezTo>
                  <a:pt x="614" y="428"/>
                  <a:pt x="597" y="443"/>
                  <a:pt x="576" y="443"/>
                </a:cubicBezTo>
                <a:cubicBezTo>
                  <a:pt x="570" y="443"/>
                  <a:pt x="565" y="443"/>
                  <a:pt x="561" y="441"/>
                </a:cubicBezTo>
                <a:cubicBezTo>
                  <a:pt x="561" y="421"/>
                  <a:pt x="561" y="421"/>
                  <a:pt x="561" y="421"/>
                </a:cubicBezTo>
                <a:cubicBezTo>
                  <a:pt x="566" y="422"/>
                  <a:pt x="570" y="423"/>
                  <a:pt x="574" y="423"/>
                </a:cubicBezTo>
                <a:cubicBezTo>
                  <a:pt x="586" y="423"/>
                  <a:pt x="595" y="416"/>
                  <a:pt x="601" y="403"/>
                </a:cubicBezTo>
                <a:cubicBezTo>
                  <a:pt x="612" y="375"/>
                  <a:pt x="612" y="375"/>
                  <a:pt x="612" y="375"/>
                </a:cubicBezTo>
                <a:cubicBezTo>
                  <a:pt x="556" y="231"/>
                  <a:pt x="556" y="231"/>
                  <a:pt x="556" y="231"/>
                </a:cubicBezTo>
                <a:cubicBezTo>
                  <a:pt x="582" y="231"/>
                  <a:pt x="582" y="231"/>
                  <a:pt x="582" y="231"/>
                </a:cubicBezTo>
                <a:cubicBezTo>
                  <a:pt x="620" y="342"/>
                  <a:pt x="620" y="342"/>
                  <a:pt x="620" y="342"/>
                </a:cubicBezTo>
                <a:cubicBezTo>
                  <a:pt x="621" y="344"/>
                  <a:pt x="622" y="348"/>
                  <a:pt x="623" y="353"/>
                </a:cubicBezTo>
                <a:cubicBezTo>
                  <a:pt x="624" y="353"/>
                  <a:pt x="624" y="353"/>
                  <a:pt x="624" y="353"/>
                </a:cubicBezTo>
                <a:cubicBezTo>
                  <a:pt x="625" y="351"/>
                  <a:pt x="626" y="347"/>
                  <a:pt x="627" y="343"/>
                </a:cubicBezTo>
                <a:cubicBezTo>
                  <a:pt x="668" y="231"/>
                  <a:pt x="668" y="231"/>
                  <a:pt x="668" y="231"/>
                </a:cubicBezTo>
                <a:lnTo>
                  <a:pt x="692" y="231"/>
                </a:lnTo>
                <a:close/>
                <a:moveTo>
                  <a:pt x="787" y="337"/>
                </a:moveTo>
                <a:cubicBezTo>
                  <a:pt x="787" y="349"/>
                  <a:pt x="782" y="359"/>
                  <a:pt x="773" y="366"/>
                </a:cubicBezTo>
                <a:cubicBezTo>
                  <a:pt x="764" y="375"/>
                  <a:pt x="751" y="379"/>
                  <a:pt x="734" y="379"/>
                </a:cubicBezTo>
                <a:cubicBezTo>
                  <a:pt x="720" y="379"/>
                  <a:pt x="708" y="376"/>
                  <a:pt x="698" y="370"/>
                </a:cubicBezTo>
                <a:cubicBezTo>
                  <a:pt x="698" y="346"/>
                  <a:pt x="698" y="346"/>
                  <a:pt x="698" y="346"/>
                </a:cubicBezTo>
                <a:cubicBezTo>
                  <a:pt x="709" y="355"/>
                  <a:pt x="722" y="359"/>
                  <a:pt x="736" y="359"/>
                </a:cubicBezTo>
                <a:cubicBezTo>
                  <a:pt x="754" y="359"/>
                  <a:pt x="763" y="353"/>
                  <a:pt x="763" y="339"/>
                </a:cubicBezTo>
                <a:cubicBezTo>
                  <a:pt x="763" y="334"/>
                  <a:pt x="761" y="329"/>
                  <a:pt x="757" y="325"/>
                </a:cubicBezTo>
                <a:cubicBezTo>
                  <a:pt x="753" y="322"/>
                  <a:pt x="745" y="317"/>
                  <a:pt x="733" y="312"/>
                </a:cubicBezTo>
                <a:cubicBezTo>
                  <a:pt x="721" y="307"/>
                  <a:pt x="713" y="301"/>
                  <a:pt x="708" y="296"/>
                </a:cubicBezTo>
                <a:cubicBezTo>
                  <a:pt x="701" y="289"/>
                  <a:pt x="698" y="280"/>
                  <a:pt x="698" y="270"/>
                </a:cubicBezTo>
                <a:cubicBezTo>
                  <a:pt x="698" y="258"/>
                  <a:pt x="703" y="248"/>
                  <a:pt x="713" y="240"/>
                </a:cubicBezTo>
                <a:cubicBezTo>
                  <a:pt x="722" y="232"/>
                  <a:pt x="734" y="228"/>
                  <a:pt x="749" y="228"/>
                </a:cubicBezTo>
                <a:cubicBezTo>
                  <a:pt x="761" y="228"/>
                  <a:pt x="771" y="230"/>
                  <a:pt x="780" y="235"/>
                </a:cubicBezTo>
                <a:cubicBezTo>
                  <a:pt x="780" y="258"/>
                  <a:pt x="780" y="258"/>
                  <a:pt x="780" y="258"/>
                </a:cubicBezTo>
                <a:cubicBezTo>
                  <a:pt x="771" y="251"/>
                  <a:pt x="760" y="248"/>
                  <a:pt x="747" y="248"/>
                </a:cubicBezTo>
                <a:cubicBezTo>
                  <a:pt x="740" y="248"/>
                  <a:pt x="734" y="250"/>
                  <a:pt x="729" y="253"/>
                </a:cubicBezTo>
                <a:cubicBezTo>
                  <a:pt x="724" y="257"/>
                  <a:pt x="722" y="262"/>
                  <a:pt x="722" y="268"/>
                </a:cubicBezTo>
                <a:cubicBezTo>
                  <a:pt x="722" y="274"/>
                  <a:pt x="724" y="279"/>
                  <a:pt x="728" y="283"/>
                </a:cubicBezTo>
                <a:cubicBezTo>
                  <a:pt x="731" y="286"/>
                  <a:pt x="738" y="290"/>
                  <a:pt x="749" y="295"/>
                </a:cubicBezTo>
                <a:cubicBezTo>
                  <a:pt x="762" y="300"/>
                  <a:pt x="771" y="305"/>
                  <a:pt x="776" y="311"/>
                </a:cubicBezTo>
                <a:cubicBezTo>
                  <a:pt x="783" y="317"/>
                  <a:pt x="787" y="326"/>
                  <a:pt x="787" y="337"/>
                </a:cubicBezTo>
                <a:close/>
                <a:moveTo>
                  <a:pt x="878" y="374"/>
                </a:moveTo>
                <a:cubicBezTo>
                  <a:pt x="873" y="377"/>
                  <a:pt x="866" y="379"/>
                  <a:pt x="857" y="379"/>
                </a:cubicBezTo>
                <a:cubicBezTo>
                  <a:pt x="832" y="379"/>
                  <a:pt x="819" y="365"/>
                  <a:pt x="819" y="336"/>
                </a:cubicBezTo>
                <a:cubicBezTo>
                  <a:pt x="819" y="251"/>
                  <a:pt x="819" y="251"/>
                  <a:pt x="819" y="251"/>
                </a:cubicBezTo>
                <a:cubicBezTo>
                  <a:pt x="794" y="251"/>
                  <a:pt x="794" y="251"/>
                  <a:pt x="794" y="251"/>
                </a:cubicBezTo>
                <a:cubicBezTo>
                  <a:pt x="794" y="231"/>
                  <a:pt x="794" y="231"/>
                  <a:pt x="794" y="231"/>
                </a:cubicBezTo>
                <a:cubicBezTo>
                  <a:pt x="819" y="231"/>
                  <a:pt x="819" y="231"/>
                  <a:pt x="819" y="231"/>
                </a:cubicBezTo>
                <a:cubicBezTo>
                  <a:pt x="819" y="196"/>
                  <a:pt x="819" y="196"/>
                  <a:pt x="819" y="196"/>
                </a:cubicBezTo>
                <a:cubicBezTo>
                  <a:pt x="826" y="194"/>
                  <a:pt x="834" y="191"/>
                  <a:pt x="842" y="189"/>
                </a:cubicBezTo>
                <a:cubicBezTo>
                  <a:pt x="842" y="231"/>
                  <a:pt x="842" y="231"/>
                  <a:pt x="842" y="231"/>
                </a:cubicBezTo>
                <a:cubicBezTo>
                  <a:pt x="878" y="231"/>
                  <a:pt x="878" y="231"/>
                  <a:pt x="878" y="231"/>
                </a:cubicBezTo>
                <a:cubicBezTo>
                  <a:pt x="878" y="251"/>
                  <a:pt x="878" y="251"/>
                  <a:pt x="878" y="251"/>
                </a:cubicBezTo>
                <a:cubicBezTo>
                  <a:pt x="842" y="251"/>
                  <a:pt x="842" y="251"/>
                  <a:pt x="842" y="251"/>
                </a:cubicBezTo>
                <a:cubicBezTo>
                  <a:pt x="842" y="332"/>
                  <a:pt x="842" y="332"/>
                  <a:pt x="842" y="332"/>
                </a:cubicBezTo>
                <a:cubicBezTo>
                  <a:pt x="842" y="342"/>
                  <a:pt x="844" y="349"/>
                  <a:pt x="847" y="353"/>
                </a:cubicBezTo>
                <a:cubicBezTo>
                  <a:pt x="850" y="357"/>
                  <a:pt x="856" y="359"/>
                  <a:pt x="864" y="359"/>
                </a:cubicBezTo>
                <a:cubicBezTo>
                  <a:pt x="869" y="359"/>
                  <a:pt x="874" y="357"/>
                  <a:pt x="878" y="354"/>
                </a:cubicBezTo>
                <a:lnTo>
                  <a:pt x="878" y="374"/>
                </a:lnTo>
                <a:close/>
                <a:moveTo>
                  <a:pt x="1015" y="309"/>
                </a:moveTo>
                <a:cubicBezTo>
                  <a:pt x="914" y="309"/>
                  <a:pt x="914" y="309"/>
                  <a:pt x="914" y="309"/>
                </a:cubicBezTo>
                <a:cubicBezTo>
                  <a:pt x="914" y="325"/>
                  <a:pt x="918" y="338"/>
                  <a:pt x="927" y="346"/>
                </a:cubicBezTo>
                <a:cubicBezTo>
                  <a:pt x="935" y="355"/>
                  <a:pt x="946" y="359"/>
                  <a:pt x="961" y="359"/>
                </a:cubicBezTo>
                <a:cubicBezTo>
                  <a:pt x="977" y="359"/>
                  <a:pt x="992" y="354"/>
                  <a:pt x="1005" y="344"/>
                </a:cubicBezTo>
                <a:cubicBezTo>
                  <a:pt x="1005" y="365"/>
                  <a:pt x="1005" y="365"/>
                  <a:pt x="1005" y="365"/>
                </a:cubicBezTo>
                <a:cubicBezTo>
                  <a:pt x="993" y="374"/>
                  <a:pt x="976" y="379"/>
                  <a:pt x="955" y="379"/>
                </a:cubicBezTo>
                <a:cubicBezTo>
                  <a:pt x="935" y="379"/>
                  <a:pt x="920" y="373"/>
                  <a:pt x="908" y="360"/>
                </a:cubicBezTo>
                <a:cubicBezTo>
                  <a:pt x="896" y="347"/>
                  <a:pt x="890" y="329"/>
                  <a:pt x="890" y="304"/>
                </a:cubicBezTo>
                <a:cubicBezTo>
                  <a:pt x="890" y="281"/>
                  <a:pt x="896" y="262"/>
                  <a:pt x="910" y="248"/>
                </a:cubicBezTo>
                <a:cubicBezTo>
                  <a:pt x="922" y="235"/>
                  <a:pt x="938" y="228"/>
                  <a:pt x="956" y="228"/>
                </a:cubicBezTo>
                <a:cubicBezTo>
                  <a:pt x="975" y="228"/>
                  <a:pt x="990" y="234"/>
                  <a:pt x="1001" y="248"/>
                </a:cubicBezTo>
                <a:cubicBezTo>
                  <a:pt x="1010" y="260"/>
                  <a:pt x="1015" y="276"/>
                  <a:pt x="1015" y="297"/>
                </a:cubicBezTo>
                <a:lnTo>
                  <a:pt x="1015" y="309"/>
                </a:lnTo>
                <a:close/>
                <a:moveTo>
                  <a:pt x="992" y="290"/>
                </a:moveTo>
                <a:cubicBezTo>
                  <a:pt x="991" y="277"/>
                  <a:pt x="988" y="266"/>
                  <a:pt x="982" y="259"/>
                </a:cubicBezTo>
                <a:cubicBezTo>
                  <a:pt x="976" y="251"/>
                  <a:pt x="967" y="248"/>
                  <a:pt x="956" y="248"/>
                </a:cubicBezTo>
                <a:cubicBezTo>
                  <a:pt x="945" y="248"/>
                  <a:pt x="936" y="252"/>
                  <a:pt x="928" y="259"/>
                </a:cubicBezTo>
                <a:cubicBezTo>
                  <a:pt x="920" y="267"/>
                  <a:pt x="916" y="277"/>
                  <a:pt x="914" y="290"/>
                </a:cubicBezTo>
                <a:lnTo>
                  <a:pt x="992" y="290"/>
                </a:lnTo>
                <a:close/>
                <a:moveTo>
                  <a:pt x="1245" y="375"/>
                </a:moveTo>
                <a:cubicBezTo>
                  <a:pt x="1222" y="375"/>
                  <a:pt x="1222" y="375"/>
                  <a:pt x="1222" y="375"/>
                </a:cubicBezTo>
                <a:cubicBezTo>
                  <a:pt x="1222" y="293"/>
                  <a:pt x="1222" y="293"/>
                  <a:pt x="1222" y="293"/>
                </a:cubicBezTo>
                <a:cubicBezTo>
                  <a:pt x="1222" y="276"/>
                  <a:pt x="1219" y="264"/>
                  <a:pt x="1214" y="257"/>
                </a:cubicBezTo>
                <a:cubicBezTo>
                  <a:pt x="1209" y="251"/>
                  <a:pt x="1201" y="248"/>
                  <a:pt x="1190" y="248"/>
                </a:cubicBezTo>
                <a:cubicBezTo>
                  <a:pt x="1180" y="248"/>
                  <a:pt x="1171" y="252"/>
                  <a:pt x="1164" y="261"/>
                </a:cubicBezTo>
                <a:cubicBezTo>
                  <a:pt x="1158" y="270"/>
                  <a:pt x="1154" y="281"/>
                  <a:pt x="1154" y="293"/>
                </a:cubicBezTo>
                <a:cubicBezTo>
                  <a:pt x="1154" y="375"/>
                  <a:pt x="1154" y="375"/>
                  <a:pt x="1154" y="375"/>
                </a:cubicBezTo>
                <a:cubicBezTo>
                  <a:pt x="1131" y="375"/>
                  <a:pt x="1131" y="375"/>
                  <a:pt x="1131" y="375"/>
                </a:cubicBezTo>
                <a:cubicBezTo>
                  <a:pt x="1131" y="290"/>
                  <a:pt x="1131" y="290"/>
                  <a:pt x="1131" y="290"/>
                </a:cubicBezTo>
                <a:cubicBezTo>
                  <a:pt x="1131" y="262"/>
                  <a:pt x="1120" y="248"/>
                  <a:pt x="1098" y="248"/>
                </a:cubicBezTo>
                <a:cubicBezTo>
                  <a:pt x="1088" y="248"/>
                  <a:pt x="1080" y="252"/>
                  <a:pt x="1074" y="260"/>
                </a:cubicBezTo>
                <a:cubicBezTo>
                  <a:pt x="1067" y="269"/>
                  <a:pt x="1063" y="280"/>
                  <a:pt x="1063" y="293"/>
                </a:cubicBezTo>
                <a:cubicBezTo>
                  <a:pt x="1063" y="375"/>
                  <a:pt x="1063" y="375"/>
                  <a:pt x="1063" y="375"/>
                </a:cubicBezTo>
                <a:cubicBezTo>
                  <a:pt x="1040" y="375"/>
                  <a:pt x="1040" y="375"/>
                  <a:pt x="1040" y="375"/>
                </a:cubicBezTo>
                <a:cubicBezTo>
                  <a:pt x="1040" y="231"/>
                  <a:pt x="1040" y="231"/>
                  <a:pt x="1040" y="231"/>
                </a:cubicBezTo>
                <a:cubicBezTo>
                  <a:pt x="1063" y="231"/>
                  <a:pt x="1063" y="231"/>
                  <a:pt x="1063" y="231"/>
                </a:cubicBezTo>
                <a:cubicBezTo>
                  <a:pt x="1063" y="254"/>
                  <a:pt x="1063" y="254"/>
                  <a:pt x="1063" y="254"/>
                </a:cubicBezTo>
                <a:cubicBezTo>
                  <a:pt x="1064" y="254"/>
                  <a:pt x="1064" y="254"/>
                  <a:pt x="1064" y="254"/>
                </a:cubicBezTo>
                <a:cubicBezTo>
                  <a:pt x="1074" y="237"/>
                  <a:pt x="1089" y="228"/>
                  <a:pt x="1109" y="228"/>
                </a:cubicBezTo>
                <a:cubicBezTo>
                  <a:pt x="1119" y="228"/>
                  <a:pt x="1127" y="231"/>
                  <a:pt x="1135" y="236"/>
                </a:cubicBezTo>
                <a:cubicBezTo>
                  <a:pt x="1142" y="242"/>
                  <a:pt x="1147" y="249"/>
                  <a:pt x="1149" y="258"/>
                </a:cubicBezTo>
                <a:cubicBezTo>
                  <a:pt x="1160" y="238"/>
                  <a:pt x="1176" y="228"/>
                  <a:pt x="1197" y="228"/>
                </a:cubicBezTo>
                <a:cubicBezTo>
                  <a:pt x="1229" y="228"/>
                  <a:pt x="1245" y="248"/>
                  <a:pt x="1245" y="287"/>
                </a:cubicBezTo>
                <a:lnTo>
                  <a:pt x="1245" y="375"/>
                </a:lnTo>
                <a:close/>
                <a:moveTo>
                  <a:pt x="1469" y="367"/>
                </a:moveTo>
                <a:cubicBezTo>
                  <a:pt x="1454" y="375"/>
                  <a:pt x="1435" y="379"/>
                  <a:pt x="1413" y="379"/>
                </a:cubicBezTo>
                <a:cubicBezTo>
                  <a:pt x="1384" y="379"/>
                  <a:pt x="1361" y="370"/>
                  <a:pt x="1344" y="351"/>
                </a:cubicBezTo>
                <a:cubicBezTo>
                  <a:pt x="1327" y="332"/>
                  <a:pt x="1318" y="308"/>
                  <a:pt x="1318" y="278"/>
                </a:cubicBezTo>
                <a:cubicBezTo>
                  <a:pt x="1318" y="246"/>
                  <a:pt x="1328" y="219"/>
                  <a:pt x="1349" y="199"/>
                </a:cubicBezTo>
                <a:cubicBezTo>
                  <a:pt x="1368" y="180"/>
                  <a:pt x="1392" y="170"/>
                  <a:pt x="1421" y="170"/>
                </a:cubicBezTo>
                <a:cubicBezTo>
                  <a:pt x="1440" y="170"/>
                  <a:pt x="1456" y="173"/>
                  <a:pt x="1469" y="179"/>
                </a:cubicBezTo>
                <a:cubicBezTo>
                  <a:pt x="1469" y="204"/>
                  <a:pt x="1469" y="204"/>
                  <a:pt x="1469" y="204"/>
                </a:cubicBezTo>
                <a:cubicBezTo>
                  <a:pt x="1454" y="196"/>
                  <a:pt x="1438" y="192"/>
                  <a:pt x="1421" y="192"/>
                </a:cubicBezTo>
                <a:cubicBezTo>
                  <a:pt x="1398" y="192"/>
                  <a:pt x="1380" y="199"/>
                  <a:pt x="1365" y="214"/>
                </a:cubicBezTo>
                <a:cubicBezTo>
                  <a:pt x="1350" y="230"/>
                  <a:pt x="1343" y="251"/>
                  <a:pt x="1343" y="277"/>
                </a:cubicBezTo>
                <a:cubicBezTo>
                  <a:pt x="1343" y="302"/>
                  <a:pt x="1350" y="322"/>
                  <a:pt x="1364" y="337"/>
                </a:cubicBezTo>
                <a:cubicBezTo>
                  <a:pt x="1377" y="351"/>
                  <a:pt x="1395" y="358"/>
                  <a:pt x="1416" y="358"/>
                </a:cubicBezTo>
                <a:cubicBezTo>
                  <a:pt x="1436" y="358"/>
                  <a:pt x="1454" y="353"/>
                  <a:pt x="1469" y="344"/>
                </a:cubicBezTo>
                <a:lnTo>
                  <a:pt x="1469" y="367"/>
                </a:lnTo>
                <a:close/>
                <a:moveTo>
                  <a:pt x="1613" y="309"/>
                </a:moveTo>
                <a:cubicBezTo>
                  <a:pt x="1511" y="309"/>
                  <a:pt x="1511" y="309"/>
                  <a:pt x="1511" y="309"/>
                </a:cubicBezTo>
                <a:cubicBezTo>
                  <a:pt x="1511" y="325"/>
                  <a:pt x="1516" y="338"/>
                  <a:pt x="1524" y="346"/>
                </a:cubicBezTo>
                <a:cubicBezTo>
                  <a:pt x="1532" y="355"/>
                  <a:pt x="1543" y="359"/>
                  <a:pt x="1558" y="359"/>
                </a:cubicBezTo>
                <a:cubicBezTo>
                  <a:pt x="1574" y="359"/>
                  <a:pt x="1589" y="354"/>
                  <a:pt x="1602" y="344"/>
                </a:cubicBezTo>
                <a:cubicBezTo>
                  <a:pt x="1602" y="365"/>
                  <a:pt x="1602" y="365"/>
                  <a:pt x="1602" y="365"/>
                </a:cubicBezTo>
                <a:cubicBezTo>
                  <a:pt x="1590" y="374"/>
                  <a:pt x="1573" y="379"/>
                  <a:pt x="1552" y="379"/>
                </a:cubicBezTo>
                <a:cubicBezTo>
                  <a:pt x="1533" y="379"/>
                  <a:pt x="1517" y="373"/>
                  <a:pt x="1506" y="360"/>
                </a:cubicBezTo>
                <a:cubicBezTo>
                  <a:pt x="1493" y="347"/>
                  <a:pt x="1487" y="329"/>
                  <a:pt x="1487" y="304"/>
                </a:cubicBezTo>
                <a:cubicBezTo>
                  <a:pt x="1487" y="281"/>
                  <a:pt x="1494" y="262"/>
                  <a:pt x="1507" y="248"/>
                </a:cubicBezTo>
                <a:cubicBezTo>
                  <a:pt x="1520" y="235"/>
                  <a:pt x="1535" y="228"/>
                  <a:pt x="1553" y="228"/>
                </a:cubicBezTo>
                <a:cubicBezTo>
                  <a:pt x="1573" y="228"/>
                  <a:pt x="1588" y="234"/>
                  <a:pt x="1598" y="248"/>
                </a:cubicBezTo>
                <a:cubicBezTo>
                  <a:pt x="1608" y="260"/>
                  <a:pt x="1613" y="276"/>
                  <a:pt x="1613" y="297"/>
                </a:cubicBezTo>
                <a:lnTo>
                  <a:pt x="1613" y="309"/>
                </a:lnTo>
                <a:close/>
                <a:moveTo>
                  <a:pt x="1589" y="290"/>
                </a:moveTo>
                <a:cubicBezTo>
                  <a:pt x="1589" y="277"/>
                  <a:pt x="1586" y="266"/>
                  <a:pt x="1580" y="259"/>
                </a:cubicBezTo>
                <a:cubicBezTo>
                  <a:pt x="1573" y="251"/>
                  <a:pt x="1564" y="248"/>
                  <a:pt x="1553" y="248"/>
                </a:cubicBezTo>
                <a:cubicBezTo>
                  <a:pt x="1542" y="248"/>
                  <a:pt x="1533" y="252"/>
                  <a:pt x="1525" y="259"/>
                </a:cubicBezTo>
                <a:cubicBezTo>
                  <a:pt x="1518" y="267"/>
                  <a:pt x="1513" y="277"/>
                  <a:pt x="1511" y="290"/>
                </a:cubicBezTo>
                <a:lnTo>
                  <a:pt x="1589" y="290"/>
                </a:lnTo>
                <a:close/>
                <a:moveTo>
                  <a:pt x="1757" y="375"/>
                </a:moveTo>
                <a:cubicBezTo>
                  <a:pt x="1734" y="375"/>
                  <a:pt x="1734" y="375"/>
                  <a:pt x="1734" y="375"/>
                </a:cubicBezTo>
                <a:cubicBezTo>
                  <a:pt x="1734" y="293"/>
                  <a:pt x="1734" y="293"/>
                  <a:pt x="1734" y="293"/>
                </a:cubicBezTo>
                <a:cubicBezTo>
                  <a:pt x="1734" y="263"/>
                  <a:pt x="1723" y="248"/>
                  <a:pt x="1701" y="248"/>
                </a:cubicBezTo>
                <a:cubicBezTo>
                  <a:pt x="1689" y="248"/>
                  <a:pt x="1680" y="252"/>
                  <a:pt x="1672" y="261"/>
                </a:cubicBezTo>
                <a:cubicBezTo>
                  <a:pt x="1665" y="269"/>
                  <a:pt x="1661" y="280"/>
                  <a:pt x="1661" y="293"/>
                </a:cubicBezTo>
                <a:cubicBezTo>
                  <a:pt x="1661" y="375"/>
                  <a:pt x="1661" y="375"/>
                  <a:pt x="1661" y="375"/>
                </a:cubicBezTo>
                <a:cubicBezTo>
                  <a:pt x="1638" y="375"/>
                  <a:pt x="1638" y="375"/>
                  <a:pt x="1638" y="375"/>
                </a:cubicBezTo>
                <a:cubicBezTo>
                  <a:pt x="1638" y="231"/>
                  <a:pt x="1638" y="231"/>
                  <a:pt x="1638" y="231"/>
                </a:cubicBezTo>
                <a:cubicBezTo>
                  <a:pt x="1661" y="231"/>
                  <a:pt x="1661" y="231"/>
                  <a:pt x="1661" y="231"/>
                </a:cubicBezTo>
                <a:cubicBezTo>
                  <a:pt x="1661" y="255"/>
                  <a:pt x="1661" y="255"/>
                  <a:pt x="1661" y="255"/>
                </a:cubicBezTo>
                <a:cubicBezTo>
                  <a:pt x="1661" y="255"/>
                  <a:pt x="1661" y="255"/>
                  <a:pt x="1661" y="255"/>
                </a:cubicBezTo>
                <a:cubicBezTo>
                  <a:pt x="1672" y="237"/>
                  <a:pt x="1688" y="228"/>
                  <a:pt x="1709" y="228"/>
                </a:cubicBezTo>
                <a:cubicBezTo>
                  <a:pt x="1724" y="228"/>
                  <a:pt x="1736" y="233"/>
                  <a:pt x="1745" y="243"/>
                </a:cubicBezTo>
                <a:cubicBezTo>
                  <a:pt x="1753" y="254"/>
                  <a:pt x="1757" y="268"/>
                  <a:pt x="1757" y="287"/>
                </a:cubicBezTo>
                <a:lnTo>
                  <a:pt x="1757" y="375"/>
                </a:lnTo>
                <a:close/>
                <a:moveTo>
                  <a:pt x="1859" y="374"/>
                </a:moveTo>
                <a:cubicBezTo>
                  <a:pt x="1853" y="377"/>
                  <a:pt x="1846" y="379"/>
                  <a:pt x="1837" y="379"/>
                </a:cubicBezTo>
                <a:cubicBezTo>
                  <a:pt x="1812" y="379"/>
                  <a:pt x="1799" y="365"/>
                  <a:pt x="1799" y="336"/>
                </a:cubicBezTo>
                <a:cubicBezTo>
                  <a:pt x="1799" y="251"/>
                  <a:pt x="1799" y="251"/>
                  <a:pt x="1799" y="251"/>
                </a:cubicBezTo>
                <a:cubicBezTo>
                  <a:pt x="1775" y="251"/>
                  <a:pt x="1775" y="251"/>
                  <a:pt x="1775" y="251"/>
                </a:cubicBezTo>
                <a:cubicBezTo>
                  <a:pt x="1775" y="231"/>
                  <a:pt x="1775" y="231"/>
                  <a:pt x="1775" y="231"/>
                </a:cubicBezTo>
                <a:cubicBezTo>
                  <a:pt x="1799" y="231"/>
                  <a:pt x="1799" y="231"/>
                  <a:pt x="1799" y="231"/>
                </a:cubicBezTo>
                <a:cubicBezTo>
                  <a:pt x="1799" y="196"/>
                  <a:pt x="1799" y="196"/>
                  <a:pt x="1799" y="196"/>
                </a:cubicBezTo>
                <a:cubicBezTo>
                  <a:pt x="1807" y="194"/>
                  <a:pt x="1814" y="191"/>
                  <a:pt x="1823" y="189"/>
                </a:cubicBezTo>
                <a:cubicBezTo>
                  <a:pt x="1823" y="231"/>
                  <a:pt x="1823" y="231"/>
                  <a:pt x="1823" y="231"/>
                </a:cubicBezTo>
                <a:cubicBezTo>
                  <a:pt x="1859" y="231"/>
                  <a:pt x="1859" y="231"/>
                  <a:pt x="1859" y="231"/>
                </a:cubicBezTo>
                <a:cubicBezTo>
                  <a:pt x="1859" y="251"/>
                  <a:pt x="1859" y="251"/>
                  <a:pt x="1859" y="251"/>
                </a:cubicBezTo>
                <a:cubicBezTo>
                  <a:pt x="1823" y="251"/>
                  <a:pt x="1823" y="251"/>
                  <a:pt x="1823" y="251"/>
                </a:cubicBezTo>
                <a:cubicBezTo>
                  <a:pt x="1823" y="332"/>
                  <a:pt x="1823" y="332"/>
                  <a:pt x="1823" y="332"/>
                </a:cubicBezTo>
                <a:cubicBezTo>
                  <a:pt x="1823" y="342"/>
                  <a:pt x="1824" y="349"/>
                  <a:pt x="1827" y="353"/>
                </a:cubicBezTo>
                <a:cubicBezTo>
                  <a:pt x="1831" y="357"/>
                  <a:pt x="1836" y="359"/>
                  <a:pt x="1844" y="359"/>
                </a:cubicBezTo>
                <a:cubicBezTo>
                  <a:pt x="1850" y="359"/>
                  <a:pt x="1855" y="357"/>
                  <a:pt x="1859" y="354"/>
                </a:cubicBezTo>
                <a:lnTo>
                  <a:pt x="1859" y="374"/>
                </a:lnTo>
                <a:close/>
                <a:moveTo>
                  <a:pt x="1996" y="309"/>
                </a:moveTo>
                <a:cubicBezTo>
                  <a:pt x="1894" y="309"/>
                  <a:pt x="1894" y="309"/>
                  <a:pt x="1894" y="309"/>
                </a:cubicBezTo>
                <a:cubicBezTo>
                  <a:pt x="1894" y="325"/>
                  <a:pt x="1899" y="338"/>
                  <a:pt x="1907" y="346"/>
                </a:cubicBezTo>
                <a:cubicBezTo>
                  <a:pt x="1915" y="355"/>
                  <a:pt x="1926" y="359"/>
                  <a:pt x="1941" y="359"/>
                </a:cubicBezTo>
                <a:cubicBezTo>
                  <a:pt x="1957" y="359"/>
                  <a:pt x="1972" y="354"/>
                  <a:pt x="1985" y="344"/>
                </a:cubicBezTo>
                <a:cubicBezTo>
                  <a:pt x="1985" y="365"/>
                  <a:pt x="1985" y="365"/>
                  <a:pt x="1985" y="365"/>
                </a:cubicBezTo>
                <a:cubicBezTo>
                  <a:pt x="1973" y="374"/>
                  <a:pt x="1956" y="379"/>
                  <a:pt x="1935" y="379"/>
                </a:cubicBezTo>
                <a:cubicBezTo>
                  <a:pt x="1916" y="379"/>
                  <a:pt x="1900" y="373"/>
                  <a:pt x="1889" y="360"/>
                </a:cubicBezTo>
                <a:cubicBezTo>
                  <a:pt x="1876" y="347"/>
                  <a:pt x="1870" y="329"/>
                  <a:pt x="1870" y="304"/>
                </a:cubicBezTo>
                <a:cubicBezTo>
                  <a:pt x="1870" y="281"/>
                  <a:pt x="1877" y="262"/>
                  <a:pt x="1890" y="248"/>
                </a:cubicBezTo>
                <a:cubicBezTo>
                  <a:pt x="1903" y="235"/>
                  <a:pt x="1918" y="228"/>
                  <a:pt x="1936" y="228"/>
                </a:cubicBezTo>
                <a:cubicBezTo>
                  <a:pt x="1956" y="228"/>
                  <a:pt x="1971" y="234"/>
                  <a:pt x="1981" y="248"/>
                </a:cubicBezTo>
                <a:cubicBezTo>
                  <a:pt x="1991" y="260"/>
                  <a:pt x="1996" y="276"/>
                  <a:pt x="1996" y="297"/>
                </a:cubicBezTo>
                <a:lnTo>
                  <a:pt x="1996" y="309"/>
                </a:lnTo>
                <a:close/>
                <a:moveTo>
                  <a:pt x="1972" y="290"/>
                </a:moveTo>
                <a:cubicBezTo>
                  <a:pt x="1972" y="277"/>
                  <a:pt x="1969" y="266"/>
                  <a:pt x="1963" y="259"/>
                </a:cubicBezTo>
                <a:cubicBezTo>
                  <a:pt x="1956" y="251"/>
                  <a:pt x="1948" y="248"/>
                  <a:pt x="1936" y="248"/>
                </a:cubicBezTo>
                <a:cubicBezTo>
                  <a:pt x="1925" y="248"/>
                  <a:pt x="1916" y="252"/>
                  <a:pt x="1908" y="259"/>
                </a:cubicBezTo>
                <a:cubicBezTo>
                  <a:pt x="1901" y="267"/>
                  <a:pt x="1896" y="277"/>
                  <a:pt x="1894" y="290"/>
                </a:cubicBezTo>
                <a:lnTo>
                  <a:pt x="1972" y="290"/>
                </a:lnTo>
                <a:close/>
                <a:moveTo>
                  <a:pt x="2096" y="255"/>
                </a:moveTo>
                <a:cubicBezTo>
                  <a:pt x="2092" y="252"/>
                  <a:pt x="2086" y="250"/>
                  <a:pt x="2078" y="250"/>
                </a:cubicBezTo>
                <a:cubicBezTo>
                  <a:pt x="2069" y="250"/>
                  <a:pt x="2061" y="254"/>
                  <a:pt x="2055" y="263"/>
                </a:cubicBezTo>
                <a:cubicBezTo>
                  <a:pt x="2047" y="272"/>
                  <a:pt x="2044" y="285"/>
                  <a:pt x="2044" y="302"/>
                </a:cubicBezTo>
                <a:cubicBezTo>
                  <a:pt x="2044" y="375"/>
                  <a:pt x="2044" y="375"/>
                  <a:pt x="2044" y="375"/>
                </a:cubicBezTo>
                <a:cubicBezTo>
                  <a:pt x="2021" y="375"/>
                  <a:pt x="2021" y="375"/>
                  <a:pt x="2021" y="375"/>
                </a:cubicBezTo>
                <a:cubicBezTo>
                  <a:pt x="2021" y="231"/>
                  <a:pt x="2021" y="231"/>
                  <a:pt x="2021" y="231"/>
                </a:cubicBezTo>
                <a:cubicBezTo>
                  <a:pt x="2044" y="231"/>
                  <a:pt x="2044" y="231"/>
                  <a:pt x="2044" y="231"/>
                </a:cubicBezTo>
                <a:cubicBezTo>
                  <a:pt x="2044" y="261"/>
                  <a:pt x="2044" y="261"/>
                  <a:pt x="2044" y="261"/>
                </a:cubicBezTo>
                <a:cubicBezTo>
                  <a:pt x="2044" y="261"/>
                  <a:pt x="2044" y="261"/>
                  <a:pt x="2044" y="261"/>
                </a:cubicBezTo>
                <a:cubicBezTo>
                  <a:pt x="2048" y="251"/>
                  <a:pt x="2053" y="243"/>
                  <a:pt x="2060" y="237"/>
                </a:cubicBezTo>
                <a:cubicBezTo>
                  <a:pt x="2067" y="232"/>
                  <a:pt x="2074" y="229"/>
                  <a:pt x="2082" y="229"/>
                </a:cubicBezTo>
                <a:cubicBezTo>
                  <a:pt x="2088" y="229"/>
                  <a:pt x="2093" y="230"/>
                  <a:pt x="2096" y="231"/>
                </a:cubicBezTo>
                <a:lnTo>
                  <a:pt x="2096" y="255"/>
                </a:lnTo>
                <a:close/>
                <a:moveTo>
                  <a:pt x="520" y="150"/>
                </a:moveTo>
                <a:cubicBezTo>
                  <a:pt x="512" y="150"/>
                  <a:pt x="512" y="150"/>
                  <a:pt x="512" y="150"/>
                </a:cubicBezTo>
                <a:cubicBezTo>
                  <a:pt x="512" y="101"/>
                  <a:pt x="512" y="101"/>
                  <a:pt x="512" y="101"/>
                </a:cubicBezTo>
                <a:cubicBezTo>
                  <a:pt x="512" y="97"/>
                  <a:pt x="512" y="92"/>
                  <a:pt x="512" y="87"/>
                </a:cubicBezTo>
                <a:cubicBezTo>
                  <a:pt x="512" y="87"/>
                  <a:pt x="512" y="87"/>
                  <a:pt x="512" y="87"/>
                </a:cubicBezTo>
                <a:cubicBezTo>
                  <a:pt x="511" y="90"/>
                  <a:pt x="511" y="93"/>
                  <a:pt x="510" y="94"/>
                </a:cubicBezTo>
                <a:cubicBezTo>
                  <a:pt x="485" y="150"/>
                  <a:pt x="485" y="150"/>
                  <a:pt x="485" y="150"/>
                </a:cubicBezTo>
                <a:cubicBezTo>
                  <a:pt x="481" y="150"/>
                  <a:pt x="481" y="150"/>
                  <a:pt x="481" y="150"/>
                </a:cubicBezTo>
                <a:cubicBezTo>
                  <a:pt x="456" y="94"/>
                  <a:pt x="456" y="94"/>
                  <a:pt x="456" y="94"/>
                </a:cubicBezTo>
                <a:cubicBezTo>
                  <a:pt x="455" y="93"/>
                  <a:pt x="455" y="90"/>
                  <a:pt x="454" y="87"/>
                </a:cubicBezTo>
                <a:cubicBezTo>
                  <a:pt x="454" y="87"/>
                  <a:pt x="454" y="87"/>
                  <a:pt x="454" y="87"/>
                </a:cubicBezTo>
                <a:cubicBezTo>
                  <a:pt x="454" y="90"/>
                  <a:pt x="454" y="95"/>
                  <a:pt x="454" y="101"/>
                </a:cubicBezTo>
                <a:cubicBezTo>
                  <a:pt x="454" y="150"/>
                  <a:pt x="454" y="150"/>
                  <a:pt x="454" y="150"/>
                </a:cubicBezTo>
                <a:cubicBezTo>
                  <a:pt x="446" y="150"/>
                  <a:pt x="446" y="150"/>
                  <a:pt x="446" y="150"/>
                </a:cubicBezTo>
                <a:cubicBezTo>
                  <a:pt x="446" y="77"/>
                  <a:pt x="446" y="77"/>
                  <a:pt x="446" y="77"/>
                </a:cubicBezTo>
                <a:cubicBezTo>
                  <a:pt x="457" y="77"/>
                  <a:pt x="457" y="77"/>
                  <a:pt x="457" y="77"/>
                </a:cubicBezTo>
                <a:cubicBezTo>
                  <a:pt x="479" y="128"/>
                  <a:pt x="479" y="128"/>
                  <a:pt x="479" y="128"/>
                </a:cubicBezTo>
                <a:cubicBezTo>
                  <a:pt x="481" y="132"/>
                  <a:pt x="482" y="135"/>
                  <a:pt x="483" y="137"/>
                </a:cubicBezTo>
                <a:cubicBezTo>
                  <a:pt x="483" y="137"/>
                  <a:pt x="483" y="137"/>
                  <a:pt x="483" y="137"/>
                </a:cubicBezTo>
                <a:cubicBezTo>
                  <a:pt x="485" y="133"/>
                  <a:pt x="486" y="130"/>
                  <a:pt x="487" y="128"/>
                </a:cubicBezTo>
                <a:cubicBezTo>
                  <a:pt x="509" y="77"/>
                  <a:pt x="509" y="77"/>
                  <a:pt x="509" y="77"/>
                </a:cubicBezTo>
                <a:cubicBezTo>
                  <a:pt x="520" y="77"/>
                  <a:pt x="520" y="77"/>
                  <a:pt x="520" y="77"/>
                </a:cubicBezTo>
                <a:lnTo>
                  <a:pt x="520" y="150"/>
                </a:lnTo>
                <a:close/>
                <a:moveTo>
                  <a:pt x="548" y="79"/>
                </a:moveTo>
                <a:cubicBezTo>
                  <a:pt x="548" y="81"/>
                  <a:pt x="547" y="82"/>
                  <a:pt x="546" y="83"/>
                </a:cubicBezTo>
                <a:cubicBezTo>
                  <a:pt x="545" y="84"/>
                  <a:pt x="544" y="85"/>
                  <a:pt x="542" y="85"/>
                </a:cubicBezTo>
                <a:cubicBezTo>
                  <a:pt x="541" y="85"/>
                  <a:pt x="540" y="84"/>
                  <a:pt x="539" y="83"/>
                </a:cubicBezTo>
                <a:cubicBezTo>
                  <a:pt x="537" y="82"/>
                  <a:pt x="537" y="81"/>
                  <a:pt x="537" y="79"/>
                </a:cubicBezTo>
                <a:cubicBezTo>
                  <a:pt x="537" y="78"/>
                  <a:pt x="537" y="77"/>
                  <a:pt x="539" y="75"/>
                </a:cubicBezTo>
                <a:cubicBezTo>
                  <a:pt x="540" y="74"/>
                  <a:pt x="541" y="74"/>
                  <a:pt x="542" y="74"/>
                </a:cubicBezTo>
                <a:cubicBezTo>
                  <a:pt x="544" y="74"/>
                  <a:pt x="545" y="74"/>
                  <a:pt x="546" y="75"/>
                </a:cubicBezTo>
                <a:cubicBezTo>
                  <a:pt x="547" y="77"/>
                  <a:pt x="548" y="78"/>
                  <a:pt x="548" y="79"/>
                </a:cubicBezTo>
                <a:close/>
                <a:moveTo>
                  <a:pt x="546" y="150"/>
                </a:moveTo>
                <a:cubicBezTo>
                  <a:pt x="538" y="150"/>
                  <a:pt x="538" y="150"/>
                  <a:pt x="538" y="150"/>
                </a:cubicBezTo>
                <a:cubicBezTo>
                  <a:pt x="538" y="98"/>
                  <a:pt x="538" y="98"/>
                  <a:pt x="538" y="98"/>
                </a:cubicBezTo>
                <a:cubicBezTo>
                  <a:pt x="546" y="98"/>
                  <a:pt x="546" y="98"/>
                  <a:pt x="546" y="98"/>
                </a:cubicBezTo>
                <a:lnTo>
                  <a:pt x="546" y="150"/>
                </a:lnTo>
                <a:close/>
                <a:moveTo>
                  <a:pt x="598" y="148"/>
                </a:moveTo>
                <a:cubicBezTo>
                  <a:pt x="594" y="150"/>
                  <a:pt x="590" y="151"/>
                  <a:pt x="584" y="151"/>
                </a:cubicBezTo>
                <a:cubicBezTo>
                  <a:pt x="577" y="151"/>
                  <a:pt x="571" y="149"/>
                  <a:pt x="566" y="144"/>
                </a:cubicBezTo>
                <a:cubicBezTo>
                  <a:pt x="562" y="139"/>
                  <a:pt x="559" y="133"/>
                  <a:pt x="559" y="125"/>
                </a:cubicBezTo>
                <a:cubicBezTo>
                  <a:pt x="559" y="117"/>
                  <a:pt x="562" y="110"/>
                  <a:pt x="567" y="105"/>
                </a:cubicBezTo>
                <a:cubicBezTo>
                  <a:pt x="572" y="99"/>
                  <a:pt x="578" y="97"/>
                  <a:pt x="586" y="97"/>
                </a:cubicBezTo>
                <a:cubicBezTo>
                  <a:pt x="591" y="97"/>
                  <a:pt x="595" y="98"/>
                  <a:pt x="598" y="99"/>
                </a:cubicBezTo>
                <a:cubicBezTo>
                  <a:pt x="598" y="108"/>
                  <a:pt x="598" y="108"/>
                  <a:pt x="598" y="108"/>
                </a:cubicBezTo>
                <a:cubicBezTo>
                  <a:pt x="595" y="105"/>
                  <a:pt x="590" y="104"/>
                  <a:pt x="586" y="104"/>
                </a:cubicBezTo>
                <a:cubicBezTo>
                  <a:pt x="581" y="104"/>
                  <a:pt x="576" y="106"/>
                  <a:pt x="573" y="109"/>
                </a:cubicBezTo>
                <a:cubicBezTo>
                  <a:pt x="570" y="113"/>
                  <a:pt x="568" y="118"/>
                  <a:pt x="568" y="124"/>
                </a:cubicBezTo>
                <a:cubicBezTo>
                  <a:pt x="568" y="131"/>
                  <a:pt x="569" y="135"/>
                  <a:pt x="573" y="139"/>
                </a:cubicBezTo>
                <a:cubicBezTo>
                  <a:pt x="576" y="142"/>
                  <a:pt x="580" y="144"/>
                  <a:pt x="586" y="144"/>
                </a:cubicBezTo>
                <a:cubicBezTo>
                  <a:pt x="590" y="144"/>
                  <a:pt x="594" y="143"/>
                  <a:pt x="598" y="140"/>
                </a:cubicBezTo>
                <a:lnTo>
                  <a:pt x="598" y="148"/>
                </a:lnTo>
                <a:close/>
                <a:moveTo>
                  <a:pt x="638" y="106"/>
                </a:moveTo>
                <a:cubicBezTo>
                  <a:pt x="637" y="105"/>
                  <a:pt x="634" y="105"/>
                  <a:pt x="632" y="105"/>
                </a:cubicBezTo>
                <a:cubicBezTo>
                  <a:pt x="628" y="105"/>
                  <a:pt x="625" y="106"/>
                  <a:pt x="623" y="109"/>
                </a:cubicBezTo>
                <a:cubicBezTo>
                  <a:pt x="621" y="113"/>
                  <a:pt x="619" y="117"/>
                  <a:pt x="619" y="123"/>
                </a:cubicBezTo>
                <a:cubicBezTo>
                  <a:pt x="619" y="150"/>
                  <a:pt x="619" y="150"/>
                  <a:pt x="619" y="150"/>
                </a:cubicBezTo>
                <a:cubicBezTo>
                  <a:pt x="611" y="150"/>
                  <a:pt x="611" y="150"/>
                  <a:pt x="611" y="150"/>
                </a:cubicBezTo>
                <a:cubicBezTo>
                  <a:pt x="611" y="98"/>
                  <a:pt x="611" y="98"/>
                  <a:pt x="611" y="98"/>
                </a:cubicBezTo>
                <a:cubicBezTo>
                  <a:pt x="619" y="98"/>
                  <a:pt x="619" y="98"/>
                  <a:pt x="619" y="98"/>
                </a:cubicBezTo>
                <a:cubicBezTo>
                  <a:pt x="619" y="109"/>
                  <a:pt x="619" y="109"/>
                  <a:pt x="619" y="109"/>
                </a:cubicBezTo>
                <a:cubicBezTo>
                  <a:pt x="619" y="109"/>
                  <a:pt x="619" y="109"/>
                  <a:pt x="619" y="109"/>
                </a:cubicBezTo>
                <a:cubicBezTo>
                  <a:pt x="621" y="105"/>
                  <a:pt x="623" y="102"/>
                  <a:pt x="625" y="100"/>
                </a:cubicBezTo>
                <a:cubicBezTo>
                  <a:pt x="627" y="98"/>
                  <a:pt x="630" y="97"/>
                  <a:pt x="633" y="97"/>
                </a:cubicBezTo>
                <a:cubicBezTo>
                  <a:pt x="635" y="97"/>
                  <a:pt x="637" y="97"/>
                  <a:pt x="638" y="98"/>
                </a:cubicBezTo>
                <a:lnTo>
                  <a:pt x="638" y="106"/>
                </a:lnTo>
                <a:close/>
                <a:moveTo>
                  <a:pt x="693" y="124"/>
                </a:moveTo>
                <a:cubicBezTo>
                  <a:pt x="693" y="132"/>
                  <a:pt x="691" y="139"/>
                  <a:pt x="686" y="144"/>
                </a:cubicBezTo>
                <a:cubicBezTo>
                  <a:pt x="681" y="149"/>
                  <a:pt x="675" y="151"/>
                  <a:pt x="667" y="151"/>
                </a:cubicBezTo>
                <a:cubicBezTo>
                  <a:pt x="659" y="151"/>
                  <a:pt x="653" y="149"/>
                  <a:pt x="648" y="144"/>
                </a:cubicBezTo>
                <a:cubicBezTo>
                  <a:pt x="644" y="139"/>
                  <a:pt x="642" y="132"/>
                  <a:pt x="642" y="125"/>
                </a:cubicBezTo>
                <a:cubicBezTo>
                  <a:pt x="642" y="116"/>
                  <a:pt x="644" y="109"/>
                  <a:pt x="649" y="104"/>
                </a:cubicBezTo>
                <a:cubicBezTo>
                  <a:pt x="654" y="99"/>
                  <a:pt x="660" y="97"/>
                  <a:pt x="668" y="97"/>
                </a:cubicBezTo>
                <a:cubicBezTo>
                  <a:pt x="676" y="97"/>
                  <a:pt x="682" y="99"/>
                  <a:pt x="686" y="104"/>
                </a:cubicBezTo>
                <a:cubicBezTo>
                  <a:pt x="691" y="109"/>
                  <a:pt x="693" y="115"/>
                  <a:pt x="693" y="124"/>
                </a:cubicBezTo>
                <a:close/>
                <a:moveTo>
                  <a:pt x="684" y="124"/>
                </a:moveTo>
                <a:cubicBezTo>
                  <a:pt x="684" y="117"/>
                  <a:pt x="683" y="112"/>
                  <a:pt x="680" y="109"/>
                </a:cubicBezTo>
                <a:cubicBezTo>
                  <a:pt x="677" y="105"/>
                  <a:pt x="673" y="104"/>
                  <a:pt x="668" y="104"/>
                </a:cubicBezTo>
                <a:cubicBezTo>
                  <a:pt x="662" y="104"/>
                  <a:pt x="658" y="105"/>
                  <a:pt x="655" y="109"/>
                </a:cubicBezTo>
                <a:cubicBezTo>
                  <a:pt x="652" y="112"/>
                  <a:pt x="650" y="118"/>
                  <a:pt x="650" y="124"/>
                </a:cubicBezTo>
                <a:cubicBezTo>
                  <a:pt x="650" y="130"/>
                  <a:pt x="652" y="135"/>
                  <a:pt x="655" y="139"/>
                </a:cubicBezTo>
                <a:cubicBezTo>
                  <a:pt x="658" y="142"/>
                  <a:pt x="662" y="144"/>
                  <a:pt x="668" y="144"/>
                </a:cubicBezTo>
                <a:cubicBezTo>
                  <a:pt x="673" y="144"/>
                  <a:pt x="677" y="142"/>
                  <a:pt x="680" y="139"/>
                </a:cubicBezTo>
                <a:cubicBezTo>
                  <a:pt x="683" y="135"/>
                  <a:pt x="684" y="130"/>
                  <a:pt x="684" y="124"/>
                </a:cubicBezTo>
                <a:close/>
                <a:moveTo>
                  <a:pt x="734" y="136"/>
                </a:moveTo>
                <a:cubicBezTo>
                  <a:pt x="734" y="140"/>
                  <a:pt x="733" y="144"/>
                  <a:pt x="729" y="147"/>
                </a:cubicBezTo>
                <a:cubicBezTo>
                  <a:pt x="726" y="150"/>
                  <a:pt x="721" y="151"/>
                  <a:pt x="715" y="151"/>
                </a:cubicBezTo>
                <a:cubicBezTo>
                  <a:pt x="710" y="151"/>
                  <a:pt x="706" y="150"/>
                  <a:pt x="702" y="148"/>
                </a:cubicBezTo>
                <a:cubicBezTo>
                  <a:pt x="702" y="139"/>
                  <a:pt x="702" y="139"/>
                  <a:pt x="702" y="139"/>
                </a:cubicBezTo>
                <a:cubicBezTo>
                  <a:pt x="706" y="142"/>
                  <a:pt x="711" y="144"/>
                  <a:pt x="716" y="144"/>
                </a:cubicBezTo>
                <a:cubicBezTo>
                  <a:pt x="722" y="144"/>
                  <a:pt x="726" y="142"/>
                  <a:pt x="726" y="137"/>
                </a:cubicBezTo>
                <a:cubicBezTo>
                  <a:pt x="726" y="135"/>
                  <a:pt x="725" y="133"/>
                  <a:pt x="724" y="132"/>
                </a:cubicBezTo>
                <a:cubicBezTo>
                  <a:pt x="722" y="130"/>
                  <a:pt x="719" y="129"/>
                  <a:pt x="715" y="127"/>
                </a:cubicBezTo>
                <a:cubicBezTo>
                  <a:pt x="711" y="125"/>
                  <a:pt x="708" y="123"/>
                  <a:pt x="706" y="121"/>
                </a:cubicBezTo>
                <a:cubicBezTo>
                  <a:pt x="704" y="119"/>
                  <a:pt x="702" y="116"/>
                  <a:pt x="702" y="112"/>
                </a:cubicBezTo>
                <a:cubicBezTo>
                  <a:pt x="702" y="107"/>
                  <a:pt x="704" y="104"/>
                  <a:pt x="708" y="101"/>
                </a:cubicBezTo>
                <a:cubicBezTo>
                  <a:pt x="711" y="98"/>
                  <a:pt x="715" y="97"/>
                  <a:pt x="721" y="97"/>
                </a:cubicBezTo>
                <a:cubicBezTo>
                  <a:pt x="725" y="97"/>
                  <a:pt x="729" y="97"/>
                  <a:pt x="732" y="99"/>
                </a:cubicBezTo>
                <a:cubicBezTo>
                  <a:pt x="732" y="107"/>
                  <a:pt x="732" y="107"/>
                  <a:pt x="732" y="107"/>
                </a:cubicBezTo>
                <a:cubicBezTo>
                  <a:pt x="728" y="105"/>
                  <a:pt x="725" y="104"/>
                  <a:pt x="720" y="104"/>
                </a:cubicBezTo>
                <a:cubicBezTo>
                  <a:pt x="717" y="104"/>
                  <a:pt x="715" y="104"/>
                  <a:pt x="713" y="106"/>
                </a:cubicBezTo>
                <a:cubicBezTo>
                  <a:pt x="712" y="107"/>
                  <a:pt x="711" y="109"/>
                  <a:pt x="711" y="111"/>
                </a:cubicBezTo>
                <a:cubicBezTo>
                  <a:pt x="711" y="113"/>
                  <a:pt x="712" y="115"/>
                  <a:pt x="713" y="116"/>
                </a:cubicBezTo>
                <a:cubicBezTo>
                  <a:pt x="714" y="118"/>
                  <a:pt x="717" y="119"/>
                  <a:pt x="721" y="121"/>
                </a:cubicBezTo>
                <a:cubicBezTo>
                  <a:pt x="725" y="123"/>
                  <a:pt x="728" y="125"/>
                  <a:pt x="730" y="126"/>
                </a:cubicBezTo>
                <a:cubicBezTo>
                  <a:pt x="733" y="129"/>
                  <a:pt x="734" y="132"/>
                  <a:pt x="734" y="136"/>
                </a:cubicBezTo>
                <a:close/>
                <a:moveTo>
                  <a:pt x="794" y="124"/>
                </a:moveTo>
                <a:cubicBezTo>
                  <a:pt x="794" y="132"/>
                  <a:pt x="791" y="139"/>
                  <a:pt x="787" y="144"/>
                </a:cubicBezTo>
                <a:cubicBezTo>
                  <a:pt x="782" y="149"/>
                  <a:pt x="776" y="151"/>
                  <a:pt x="768" y="151"/>
                </a:cubicBezTo>
                <a:cubicBezTo>
                  <a:pt x="760" y="151"/>
                  <a:pt x="754" y="149"/>
                  <a:pt x="749" y="144"/>
                </a:cubicBezTo>
                <a:cubicBezTo>
                  <a:pt x="745" y="139"/>
                  <a:pt x="742" y="132"/>
                  <a:pt x="742" y="125"/>
                </a:cubicBezTo>
                <a:cubicBezTo>
                  <a:pt x="742" y="116"/>
                  <a:pt x="745" y="109"/>
                  <a:pt x="750" y="104"/>
                </a:cubicBezTo>
                <a:cubicBezTo>
                  <a:pt x="755" y="99"/>
                  <a:pt x="761" y="97"/>
                  <a:pt x="769" y="97"/>
                </a:cubicBezTo>
                <a:cubicBezTo>
                  <a:pt x="777" y="97"/>
                  <a:pt x="783" y="99"/>
                  <a:pt x="787" y="104"/>
                </a:cubicBezTo>
                <a:cubicBezTo>
                  <a:pt x="791" y="109"/>
                  <a:pt x="794" y="115"/>
                  <a:pt x="794" y="124"/>
                </a:cubicBezTo>
                <a:close/>
                <a:moveTo>
                  <a:pt x="785" y="124"/>
                </a:moveTo>
                <a:cubicBezTo>
                  <a:pt x="785" y="117"/>
                  <a:pt x="784" y="112"/>
                  <a:pt x="781" y="109"/>
                </a:cubicBezTo>
                <a:cubicBezTo>
                  <a:pt x="778" y="105"/>
                  <a:pt x="774" y="104"/>
                  <a:pt x="768" y="104"/>
                </a:cubicBezTo>
                <a:cubicBezTo>
                  <a:pt x="763" y="104"/>
                  <a:pt x="759" y="105"/>
                  <a:pt x="756" y="109"/>
                </a:cubicBezTo>
                <a:cubicBezTo>
                  <a:pt x="753" y="112"/>
                  <a:pt x="751" y="118"/>
                  <a:pt x="751" y="124"/>
                </a:cubicBezTo>
                <a:cubicBezTo>
                  <a:pt x="751" y="130"/>
                  <a:pt x="753" y="135"/>
                  <a:pt x="756" y="139"/>
                </a:cubicBezTo>
                <a:cubicBezTo>
                  <a:pt x="759" y="142"/>
                  <a:pt x="763" y="144"/>
                  <a:pt x="768" y="144"/>
                </a:cubicBezTo>
                <a:cubicBezTo>
                  <a:pt x="774" y="144"/>
                  <a:pt x="778" y="142"/>
                  <a:pt x="781" y="139"/>
                </a:cubicBezTo>
                <a:cubicBezTo>
                  <a:pt x="784" y="135"/>
                  <a:pt x="785" y="130"/>
                  <a:pt x="785" y="124"/>
                </a:cubicBezTo>
                <a:close/>
                <a:moveTo>
                  <a:pt x="830" y="80"/>
                </a:moveTo>
                <a:cubicBezTo>
                  <a:pt x="829" y="79"/>
                  <a:pt x="827" y="79"/>
                  <a:pt x="825" y="79"/>
                </a:cubicBezTo>
                <a:cubicBezTo>
                  <a:pt x="819" y="79"/>
                  <a:pt x="816" y="83"/>
                  <a:pt x="816" y="90"/>
                </a:cubicBezTo>
                <a:cubicBezTo>
                  <a:pt x="816" y="98"/>
                  <a:pt x="816" y="98"/>
                  <a:pt x="816" y="98"/>
                </a:cubicBezTo>
                <a:cubicBezTo>
                  <a:pt x="828" y="98"/>
                  <a:pt x="828" y="98"/>
                  <a:pt x="828" y="98"/>
                </a:cubicBezTo>
                <a:cubicBezTo>
                  <a:pt x="828" y="105"/>
                  <a:pt x="828" y="105"/>
                  <a:pt x="828" y="105"/>
                </a:cubicBezTo>
                <a:cubicBezTo>
                  <a:pt x="816" y="105"/>
                  <a:pt x="816" y="105"/>
                  <a:pt x="816" y="105"/>
                </a:cubicBezTo>
                <a:cubicBezTo>
                  <a:pt x="816" y="150"/>
                  <a:pt x="816" y="150"/>
                  <a:pt x="816" y="150"/>
                </a:cubicBezTo>
                <a:cubicBezTo>
                  <a:pt x="808" y="150"/>
                  <a:pt x="808" y="150"/>
                  <a:pt x="808" y="150"/>
                </a:cubicBezTo>
                <a:cubicBezTo>
                  <a:pt x="808" y="105"/>
                  <a:pt x="808" y="105"/>
                  <a:pt x="808" y="105"/>
                </a:cubicBezTo>
                <a:cubicBezTo>
                  <a:pt x="799" y="105"/>
                  <a:pt x="799" y="105"/>
                  <a:pt x="799" y="105"/>
                </a:cubicBezTo>
                <a:cubicBezTo>
                  <a:pt x="799" y="98"/>
                  <a:pt x="799" y="98"/>
                  <a:pt x="799" y="98"/>
                </a:cubicBezTo>
                <a:cubicBezTo>
                  <a:pt x="808" y="98"/>
                  <a:pt x="808" y="98"/>
                  <a:pt x="808" y="98"/>
                </a:cubicBezTo>
                <a:cubicBezTo>
                  <a:pt x="808" y="90"/>
                  <a:pt x="808" y="90"/>
                  <a:pt x="808" y="90"/>
                </a:cubicBezTo>
                <a:cubicBezTo>
                  <a:pt x="808" y="84"/>
                  <a:pt x="810" y="79"/>
                  <a:pt x="813" y="76"/>
                </a:cubicBezTo>
                <a:cubicBezTo>
                  <a:pt x="816" y="73"/>
                  <a:pt x="820" y="72"/>
                  <a:pt x="824" y="72"/>
                </a:cubicBezTo>
                <a:cubicBezTo>
                  <a:pt x="827" y="72"/>
                  <a:pt x="829" y="72"/>
                  <a:pt x="830" y="73"/>
                </a:cubicBezTo>
                <a:lnTo>
                  <a:pt x="830" y="80"/>
                </a:lnTo>
                <a:close/>
                <a:moveTo>
                  <a:pt x="863" y="149"/>
                </a:moveTo>
                <a:cubicBezTo>
                  <a:pt x="861" y="151"/>
                  <a:pt x="859" y="151"/>
                  <a:pt x="855" y="151"/>
                </a:cubicBezTo>
                <a:cubicBezTo>
                  <a:pt x="846" y="151"/>
                  <a:pt x="842" y="146"/>
                  <a:pt x="842" y="136"/>
                </a:cubicBezTo>
                <a:cubicBezTo>
                  <a:pt x="842" y="105"/>
                  <a:pt x="842" y="105"/>
                  <a:pt x="842" y="105"/>
                </a:cubicBezTo>
                <a:cubicBezTo>
                  <a:pt x="833" y="105"/>
                  <a:pt x="833" y="105"/>
                  <a:pt x="833" y="105"/>
                </a:cubicBezTo>
                <a:cubicBezTo>
                  <a:pt x="833" y="98"/>
                  <a:pt x="833" y="98"/>
                  <a:pt x="833" y="98"/>
                </a:cubicBezTo>
                <a:cubicBezTo>
                  <a:pt x="842" y="98"/>
                  <a:pt x="842" y="98"/>
                  <a:pt x="842" y="98"/>
                </a:cubicBezTo>
                <a:cubicBezTo>
                  <a:pt x="842" y="85"/>
                  <a:pt x="842" y="85"/>
                  <a:pt x="842" y="85"/>
                </a:cubicBezTo>
                <a:cubicBezTo>
                  <a:pt x="844" y="84"/>
                  <a:pt x="847" y="84"/>
                  <a:pt x="850" y="83"/>
                </a:cubicBezTo>
                <a:cubicBezTo>
                  <a:pt x="850" y="98"/>
                  <a:pt x="850" y="98"/>
                  <a:pt x="850" y="98"/>
                </a:cubicBezTo>
                <a:cubicBezTo>
                  <a:pt x="863" y="98"/>
                  <a:pt x="863" y="98"/>
                  <a:pt x="863" y="98"/>
                </a:cubicBezTo>
                <a:cubicBezTo>
                  <a:pt x="863" y="105"/>
                  <a:pt x="863" y="105"/>
                  <a:pt x="863" y="105"/>
                </a:cubicBezTo>
                <a:cubicBezTo>
                  <a:pt x="850" y="105"/>
                  <a:pt x="850" y="105"/>
                  <a:pt x="850" y="105"/>
                </a:cubicBezTo>
                <a:cubicBezTo>
                  <a:pt x="850" y="134"/>
                  <a:pt x="850" y="134"/>
                  <a:pt x="850" y="134"/>
                </a:cubicBezTo>
                <a:cubicBezTo>
                  <a:pt x="850" y="138"/>
                  <a:pt x="851" y="140"/>
                  <a:pt x="852" y="142"/>
                </a:cubicBezTo>
                <a:cubicBezTo>
                  <a:pt x="853" y="143"/>
                  <a:pt x="855" y="144"/>
                  <a:pt x="858" y="144"/>
                </a:cubicBezTo>
                <a:cubicBezTo>
                  <a:pt x="860" y="144"/>
                  <a:pt x="862" y="143"/>
                  <a:pt x="863" y="142"/>
                </a:cubicBezTo>
                <a:lnTo>
                  <a:pt x="863" y="149"/>
                </a:lnTo>
                <a:close/>
                <a:moveTo>
                  <a:pt x="899" y="101"/>
                </a:moveTo>
                <a:cubicBezTo>
                  <a:pt x="899" y="106"/>
                  <a:pt x="898" y="109"/>
                  <a:pt x="895" y="112"/>
                </a:cubicBezTo>
                <a:cubicBezTo>
                  <a:pt x="892" y="115"/>
                  <a:pt x="888" y="116"/>
                  <a:pt x="884" y="116"/>
                </a:cubicBezTo>
                <a:cubicBezTo>
                  <a:pt x="880" y="116"/>
                  <a:pt x="877" y="115"/>
                  <a:pt x="874" y="112"/>
                </a:cubicBezTo>
                <a:cubicBezTo>
                  <a:pt x="871" y="109"/>
                  <a:pt x="870" y="106"/>
                  <a:pt x="870" y="102"/>
                </a:cubicBezTo>
                <a:cubicBezTo>
                  <a:pt x="870" y="97"/>
                  <a:pt x="871" y="94"/>
                  <a:pt x="874" y="91"/>
                </a:cubicBezTo>
                <a:cubicBezTo>
                  <a:pt x="877" y="88"/>
                  <a:pt x="880" y="87"/>
                  <a:pt x="884" y="87"/>
                </a:cubicBezTo>
                <a:cubicBezTo>
                  <a:pt x="889" y="87"/>
                  <a:pt x="892" y="88"/>
                  <a:pt x="895" y="91"/>
                </a:cubicBezTo>
                <a:cubicBezTo>
                  <a:pt x="898" y="94"/>
                  <a:pt x="899" y="97"/>
                  <a:pt x="899" y="101"/>
                </a:cubicBezTo>
                <a:close/>
                <a:moveTo>
                  <a:pt x="897" y="102"/>
                </a:moveTo>
                <a:cubicBezTo>
                  <a:pt x="897" y="98"/>
                  <a:pt x="896" y="95"/>
                  <a:pt x="894" y="92"/>
                </a:cubicBezTo>
                <a:cubicBezTo>
                  <a:pt x="891" y="90"/>
                  <a:pt x="888" y="89"/>
                  <a:pt x="884" y="89"/>
                </a:cubicBezTo>
                <a:cubicBezTo>
                  <a:pt x="881" y="89"/>
                  <a:pt x="878" y="90"/>
                  <a:pt x="875" y="92"/>
                </a:cubicBezTo>
                <a:cubicBezTo>
                  <a:pt x="873" y="95"/>
                  <a:pt x="871" y="98"/>
                  <a:pt x="871" y="102"/>
                </a:cubicBezTo>
                <a:cubicBezTo>
                  <a:pt x="871" y="105"/>
                  <a:pt x="873" y="108"/>
                  <a:pt x="875" y="111"/>
                </a:cubicBezTo>
                <a:cubicBezTo>
                  <a:pt x="878" y="113"/>
                  <a:pt x="881" y="114"/>
                  <a:pt x="884" y="114"/>
                </a:cubicBezTo>
                <a:cubicBezTo>
                  <a:pt x="888" y="114"/>
                  <a:pt x="891" y="113"/>
                  <a:pt x="894" y="111"/>
                </a:cubicBezTo>
                <a:cubicBezTo>
                  <a:pt x="896" y="108"/>
                  <a:pt x="897" y="105"/>
                  <a:pt x="897" y="102"/>
                </a:cubicBezTo>
                <a:close/>
                <a:moveTo>
                  <a:pt x="892" y="111"/>
                </a:moveTo>
                <a:cubicBezTo>
                  <a:pt x="888" y="111"/>
                  <a:pt x="888" y="111"/>
                  <a:pt x="888" y="111"/>
                </a:cubicBezTo>
                <a:cubicBezTo>
                  <a:pt x="886" y="106"/>
                  <a:pt x="886" y="106"/>
                  <a:pt x="886" y="106"/>
                </a:cubicBezTo>
                <a:cubicBezTo>
                  <a:pt x="885" y="104"/>
                  <a:pt x="884" y="103"/>
                  <a:pt x="883" y="103"/>
                </a:cubicBezTo>
                <a:cubicBezTo>
                  <a:pt x="881" y="103"/>
                  <a:pt x="881" y="103"/>
                  <a:pt x="881" y="103"/>
                </a:cubicBezTo>
                <a:cubicBezTo>
                  <a:pt x="881" y="111"/>
                  <a:pt x="881" y="111"/>
                  <a:pt x="881" y="111"/>
                </a:cubicBezTo>
                <a:cubicBezTo>
                  <a:pt x="879" y="111"/>
                  <a:pt x="879" y="111"/>
                  <a:pt x="879" y="111"/>
                </a:cubicBezTo>
                <a:cubicBezTo>
                  <a:pt x="879" y="92"/>
                  <a:pt x="879" y="92"/>
                  <a:pt x="879" y="92"/>
                </a:cubicBezTo>
                <a:cubicBezTo>
                  <a:pt x="884" y="92"/>
                  <a:pt x="884" y="92"/>
                  <a:pt x="884" y="92"/>
                </a:cubicBezTo>
                <a:cubicBezTo>
                  <a:pt x="886" y="92"/>
                  <a:pt x="888" y="93"/>
                  <a:pt x="889" y="94"/>
                </a:cubicBezTo>
                <a:cubicBezTo>
                  <a:pt x="890" y="94"/>
                  <a:pt x="891" y="96"/>
                  <a:pt x="891" y="97"/>
                </a:cubicBezTo>
                <a:cubicBezTo>
                  <a:pt x="891" y="98"/>
                  <a:pt x="890" y="99"/>
                  <a:pt x="889" y="100"/>
                </a:cubicBezTo>
                <a:cubicBezTo>
                  <a:pt x="889" y="101"/>
                  <a:pt x="887" y="102"/>
                  <a:pt x="886" y="102"/>
                </a:cubicBezTo>
                <a:cubicBezTo>
                  <a:pt x="886" y="102"/>
                  <a:pt x="886" y="102"/>
                  <a:pt x="886" y="102"/>
                </a:cubicBezTo>
                <a:cubicBezTo>
                  <a:pt x="887" y="102"/>
                  <a:pt x="888" y="104"/>
                  <a:pt x="889" y="106"/>
                </a:cubicBezTo>
                <a:lnTo>
                  <a:pt x="892" y="111"/>
                </a:lnTo>
                <a:close/>
                <a:moveTo>
                  <a:pt x="888" y="97"/>
                </a:moveTo>
                <a:cubicBezTo>
                  <a:pt x="888" y="96"/>
                  <a:pt x="888" y="96"/>
                  <a:pt x="887" y="95"/>
                </a:cubicBezTo>
                <a:cubicBezTo>
                  <a:pt x="886" y="95"/>
                  <a:pt x="885" y="94"/>
                  <a:pt x="884" y="94"/>
                </a:cubicBezTo>
                <a:cubicBezTo>
                  <a:pt x="881" y="94"/>
                  <a:pt x="881" y="94"/>
                  <a:pt x="881" y="94"/>
                </a:cubicBezTo>
                <a:cubicBezTo>
                  <a:pt x="881" y="101"/>
                  <a:pt x="881" y="101"/>
                  <a:pt x="881" y="101"/>
                </a:cubicBezTo>
                <a:cubicBezTo>
                  <a:pt x="884" y="101"/>
                  <a:pt x="884" y="101"/>
                  <a:pt x="884" y="101"/>
                </a:cubicBezTo>
                <a:cubicBezTo>
                  <a:pt x="887" y="101"/>
                  <a:pt x="888" y="100"/>
                  <a:pt x="888" y="97"/>
                </a:cubicBezTo>
                <a:close/>
                <a:moveTo>
                  <a:pt x="2130" y="375"/>
                </a:moveTo>
                <a:cubicBezTo>
                  <a:pt x="2130" y="366"/>
                  <a:pt x="2130" y="366"/>
                  <a:pt x="2130" y="366"/>
                </a:cubicBezTo>
                <a:cubicBezTo>
                  <a:pt x="2169" y="323"/>
                  <a:pt x="2169" y="323"/>
                  <a:pt x="2169" y="323"/>
                </a:cubicBezTo>
                <a:cubicBezTo>
                  <a:pt x="2183" y="308"/>
                  <a:pt x="2193" y="297"/>
                  <a:pt x="2197" y="290"/>
                </a:cubicBezTo>
                <a:cubicBezTo>
                  <a:pt x="2202" y="283"/>
                  <a:pt x="2204" y="275"/>
                  <a:pt x="2204" y="266"/>
                </a:cubicBezTo>
                <a:cubicBezTo>
                  <a:pt x="2204" y="256"/>
                  <a:pt x="2201" y="249"/>
                  <a:pt x="2196" y="244"/>
                </a:cubicBezTo>
                <a:cubicBezTo>
                  <a:pt x="2191" y="239"/>
                  <a:pt x="2183" y="236"/>
                  <a:pt x="2173" y="236"/>
                </a:cubicBezTo>
                <a:cubicBezTo>
                  <a:pt x="2161" y="236"/>
                  <a:pt x="2148" y="241"/>
                  <a:pt x="2137" y="251"/>
                </a:cubicBezTo>
                <a:cubicBezTo>
                  <a:pt x="2137" y="240"/>
                  <a:pt x="2137" y="240"/>
                  <a:pt x="2137" y="240"/>
                </a:cubicBezTo>
                <a:cubicBezTo>
                  <a:pt x="2148" y="232"/>
                  <a:pt x="2161" y="227"/>
                  <a:pt x="2175" y="227"/>
                </a:cubicBezTo>
                <a:cubicBezTo>
                  <a:pt x="2187" y="227"/>
                  <a:pt x="2197" y="231"/>
                  <a:pt x="2203" y="237"/>
                </a:cubicBezTo>
                <a:cubicBezTo>
                  <a:pt x="2210" y="244"/>
                  <a:pt x="2214" y="253"/>
                  <a:pt x="2214" y="264"/>
                </a:cubicBezTo>
                <a:cubicBezTo>
                  <a:pt x="2214" y="274"/>
                  <a:pt x="2211" y="283"/>
                  <a:pt x="2206" y="292"/>
                </a:cubicBezTo>
                <a:cubicBezTo>
                  <a:pt x="2202" y="300"/>
                  <a:pt x="2191" y="312"/>
                  <a:pt x="2176" y="329"/>
                </a:cubicBezTo>
                <a:cubicBezTo>
                  <a:pt x="2140" y="367"/>
                  <a:pt x="2140" y="367"/>
                  <a:pt x="2140" y="367"/>
                </a:cubicBezTo>
                <a:cubicBezTo>
                  <a:pt x="2140" y="367"/>
                  <a:pt x="2140" y="367"/>
                  <a:pt x="2140" y="367"/>
                </a:cubicBezTo>
                <a:cubicBezTo>
                  <a:pt x="2213" y="367"/>
                  <a:pt x="2213" y="367"/>
                  <a:pt x="2213" y="367"/>
                </a:cubicBezTo>
                <a:cubicBezTo>
                  <a:pt x="2213" y="375"/>
                  <a:pt x="2213" y="375"/>
                  <a:pt x="2213" y="375"/>
                </a:cubicBezTo>
                <a:lnTo>
                  <a:pt x="2130" y="375"/>
                </a:lnTo>
                <a:close/>
                <a:moveTo>
                  <a:pt x="2279" y="378"/>
                </a:moveTo>
                <a:cubicBezTo>
                  <a:pt x="2265" y="378"/>
                  <a:pt x="2255" y="372"/>
                  <a:pt x="2247" y="360"/>
                </a:cubicBezTo>
                <a:cubicBezTo>
                  <a:pt x="2240" y="347"/>
                  <a:pt x="2236" y="329"/>
                  <a:pt x="2236" y="306"/>
                </a:cubicBezTo>
                <a:cubicBezTo>
                  <a:pt x="2236" y="280"/>
                  <a:pt x="2240" y="260"/>
                  <a:pt x="2248" y="247"/>
                </a:cubicBezTo>
                <a:cubicBezTo>
                  <a:pt x="2256" y="234"/>
                  <a:pt x="2267" y="227"/>
                  <a:pt x="2282" y="227"/>
                </a:cubicBezTo>
                <a:cubicBezTo>
                  <a:pt x="2310" y="227"/>
                  <a:pt x="2324" y="252"/>
                  <a:pt x="2324" y="302"/>
                </a:cubicBezTo>
                <a:cubicBezTo>
                  <a:pt x="2324" y="327"/>
                  <a:pt x="2320" y="346"/>
                  <a:pt x="2312" y="359"/>
                </a:cubicBezTo>
                <a:cubicBezTo>
                  <a:pt x="2304" y="372"/>
                  <a:pt x="2293" y="378"/>
                  <a:pt x="2279" y="378"/>
                </a:cubicBezTo>
                <a:close/>
                <a:moveTo>
                  <a:pt x="2281" y="236"/>
                </a:moveTo>
                <a:cubicBezTo>
                  <a:pt x="2270" y="236"/>
                  <a:pt x="2261" y="242"/>
                  <a:pt x="2255" y="253"/>
                </a:cubicBezTo>
                <a:cubicBezTo>
                  <a:pt x="2249" y="265"/>
                  <a:pt x="2246" y="282"/>
                  <a:pt x="2246" y="305"/>
                </a:cubicBezTo>
                <a:cubicBezTo>
                  <a:pt x="2246" y="325"/>
                  <a:pt x="2249" y="341"/>
                  <a:pt x="2255" y="353"/>
                </a:cubicBezTo>
                <a:cubicBezTo>
                  <a:pt x="2260" y="364"/>
                  <a:pt x="2269" y="370"/>
                  <a:pt x="2280" y="370"/>
                </a:cubicBezTo>
                <a:cubicBezTo>
                  <a:pt x="2291" y="370"/>
                  <a:pt x="2299" y="364"/>
                  <a:pt x="2305" y="352"/>
                </a:cubicBezTo>
                <a:cubicBezTo>
                  <a:pt x="2311" y="341"/>
                  <a:pt x="2314" y="325"/>
                  <a:pt x="2314" y="303"/>
                </a:cubicBezTo>
                <a:cubicBezTo>
                  <a:pt x="2314" y="258"/>
                  <a:pt x="2303" y="236"/>
                  <a:pt x="2281" y="236"/>
                </a:cubicBezTo>
                <a:close/>
                <a:moveTo>
                  <a:pt x="2344" y="375"/>
                </a:moveTo>
                <a:cubicBezTo>
                  <a:pt x="2344" y="367"/>
                  <a:pt x="2344" y="367"/>
                  <a:pt x="2344" y="367"/>
                </a:cubicBezTo>
                <a:cubicBezTo>
                  <a:pt x="2378" y="367"/>
                  <a:pt x="2378" y="367"/>
                  <a:pt x="2378" y="367"/>
                </a:cubicBezTo>
                <a:cubicBezTo>
                  <a:pt x="2378" y="237"/>
                  <a:pt x="2378" y="237"/>
                  <a:pt x="2378" y="237"/>
                </a:cubicBezTo>
                <a:cubicBezTo>
                  <a:pt x="2342" y="250"/>
                  <a:pt x="2342" y="250"/>
                  <a:pt x="2342" y="250"/>
                </a:cubicBezTo>
                <a:cubicBezTo>
                  <a:pt x="2342" y="240"/>
                  <a:pt x="2342" y="240"/>
                  <a:pt x="2342" y="240"/>
                </a:cubicBezTo>
                <a:cubicBezTo>
                  <a:pt x="2387" y="225"/>
                  <a:pt x="2387" y="225"/>
                  <a:pt x="2387" y="225"/>
                </a:cubicBezTo>
                <a:cubicBezTo>
                  <a:pt x="2387" y="367"/>
                  <a:pt x="2387" y="367"/>
                  <a:pt x="2387" y="367"/>
                </a:cubicBezTo>
                <a:cubicBezTo>
                  <a:pt x="2420" y="367"/>
                  <a:pt x="2420" y="367"/>
                  <a:pt x="2420" y="367"/>
                </a:cubicBezTo>
                <a:cubicBezTo>
                  <a:pt x="2420" y="375"/>
                  <a:pt x="2420" y="375"/>
                  <a:pt x="2420" y="375"/>
                </a:cubicBezTo>
                <a:lnTo>
                  <a:pt x="2344" y="375"/>
                </a:lnTo>
                <a:close/>
                <a:moveTo>
                  <a:pt x="2433" y="375"/>
                </a:moveTo>
                <a:cubicBezTo>
                  <a:pt x="2433" y="366"/>
                  <a:pt x="2433" y="366"/>
                  <a:pt x="2433" y="366"/>
                </a:cubicBezTo>
                <a:cubicBezTo>
                  <a:pt x="2473" y="323"/>
                  <a:pt x="2473" y="323"/>
                  <a:pt x="2473" y="323"/>
                </a:cubicBezTo>
                <a:cubicBezTo>
                  <a:pt x="2487" y="308"/>
                  <a:pt x="2496" y="297"/>
                  <a:pt x="2501" y="290"/>
                </a:cubicBezTo>
                <a:cubicBezTo>
                  <a:pt x="2505" y="283"/>
                  <a:pt x="2508" y="275"/>
                  <a:pt x="2508" y="266"/>
                </a:cubicBezTo>
                <a:cubicBezTo>
                  <a:pt x="2508" y="256"/>
                  <a:pt x="2505" y="249"/>
                  <a:pt x="2500" y="244"/>
                </a:cubicBezTo>
                <a:cubicBezTo>
                  <a:pt x="2494" y="239"/>
                  <a:pt x="2487" y="236"/>
                  <a:pt x="2477" y="236"/>
                </a:cubicBezTo>
                <a:cubicBezTo>
                  <a:pt x="2464" y="236"/>
                  <a:pt x="2452" y="241"/>
                  <a:pt x="2441" y="251"/>
                </a:cubicBezTo>
                <a:cubicBezTo>
                  <a:pt x="2441" y="240"/>
                  <a:pt x="2441" y="240"/>
                  <a:pt x="2441" y="240"/>
                </a:cubicBezTo>
                <a:cubicBezTo>
                  <a:pt x="2452" y="232"/>
                  <a:pt x="2464" y="227"/>
                  <a:pt x="2478" y="227"/>
                </a:cubicBezTo>
                <a:cubicBezTo>
                  <a:pt x="2491" y="227"/>
                  <a:pt x="2500" y="231"/>
                  <a:pt x="2507" y="237"/>
                </a:cubicBezTo>
                <a:cubicBezTo>
                  <a:pt x="2514" y="244"/>
                  <a:pt x="2517" y="253"/>
                  <a:pt x="2517" y="264"/>
                </a:cubicBezTo>
                <a:cubicBezTo>
                  <a:pt x="2517" y="274"/>
                  <a:pt x="2515" y="283"/>
                  <a:pt x="2510" y="292"/>
                </a:cubicBezTo>
                <a:cubicBezTo>
                  <a:pt x="2505" y="300"/>
                  <a:pt x="2495" y="312"/>
                  <a:pt x="2479" y="329"/>
                </a:cubicBezTo>
                <a:cubicBezTo>
                  <a:pt x="2444" y="367"/>
                  <a:pt x="2444" y="367"/>
                  <a:pt x="2444" y="367"/>
                </a:cubicBezTo>
                <a:cubicBezTo>
                  <a:pt x="2444" y="367"/>
                  <a:pt x="2444" y="367"/>
                  <a:pt x="2444" y="367"/>
                </a:cubicBezTo>
                <a:cubicBezTo>
                  <a:pt x="2516" y="367"/>
                  <a:pt x="2516" y="367"/>
                  <a:pt x="2516" y="367"/>
                </a:cubicBezTo>
                <a:cubicBezTo>
                  <a:pt x="2516" y="375"/>
                  <a:pt x="2516" y="375"/>
                  <a:pt x="2516" y="375"/>
                </a:cubicBezTo>
                <a:lnTo>
                  <a:pt x="2433" y="375"/>
                </a:lnTo>
                <a:close/>
              </a:path>
            </a:pathLst>
          </a:custGeom>
          <a:solidFill>
            <a:srgbClr val="FFFFFF"/>
          </a:solidFill>
          <a:ln>
            <a:noFill/>
          </a:ln>
          <a:extLst/>
        </p:spPr>
        <p:txBody>
          <a:bodyPr vert="horz" wrap="square" lIns="89582" tIns="44793" rIns="89582" bIns="44793" numCol="1" anchor="t" anchorCtr="0" compatLnSpc="1">
            <a:prstTxWarp prst="textNoShape">
              <a:avLst/>
            </a:prstTxWarp>
          </a:bodyPr>
          <a:lstStyle/>
          <a:p>
            <a:pPr defTabSz="908230">
              <a:defRPr/>
            </a:pPr>
            <a:endParaRPr lang="en-US" sz="1765" kern="0">
              <a:solidFill>
                <a:srgbClr val="505050"/>
              </a:solidFill>
            </a:endParaRPr>
          </a:p>
        </p:txBody>
      </p:sp>
      <p:sp>
        <p:nvSpPr>
          <p:cNvPr id="22" name="Freeform 5"/>
          <p:cNvSpPr>
            <a:spLocks noChangeAspect="1" noEditPoints="1"/>
          </p:cNvSpPr>
          <p:nvPr/>
        </p:nvSpPr>
        <p:spPr bwMode="auto">
          <a:xfrm>
            <a:off x="6361301" y="3760485"/>
            <a:ext cx="1990715" cy="229475"/>
          </a:xfrm>
          <a:custGeom>
            <a:avLst/>
            <a:gdLst>
              <a:gd name="T0" fmla="*/ 368 w 7511"/>
              <a:gd name="T1" fmla="*/ 425 h 864"/>
              <a:gd name="T2" fmla="*/ 0 w 7511"/>
              <a:gd name="T3" fmla="*/ 439 h 864"/>
              <a:gd name="T4" fmla="*/ 864 w 7511"/>
              <a:gd name="T5" fmla="*/ 864 h 864"/>
              <a:gd name="T6" fmla="*/ 1835 w 7511"/>
              <a:gd name="T7" fmla="*/ 200 h 864"/>
              <a:gd name="T8" fmla="*/ 1730 w 7511"/>
              <a:gd name="T9" fmla="*/ 172 h 864"/>
              <a:gd name="T10" fmla="*/ 1309 w 7511"/>
              <a:gd name="T11" fmla="*/ 605 h 864"/>
              <a:gd name="T12" fmla="*/ 1462 w 7511"/>
              <a:gd name="T13" fmla="*/ 280 h 864"/>
              <a:gd name="T14" fmla="*/ 1845 w 7511"/>
              <a:gd name="T15" fmla="*/ 321 h 864"/>
              <a:gd name="T16" fmla="*/ 2175 w 7511"/>
              <a:gd name="T17" fmla="*/ 312 h 864"/>
              <a:gd name="T18" fmla="*/ 2052 w 7511"/>
              <a:gd name="T19" fmla="*/ 691 h 864"/>
              <a:gd name="T20" fmla="*/ 2301 w 7511"/>
              <a:gd name="T21" fmla="*/ 691 h 864"/>
              <a:gd name="T22" fmla="*/ 2538 w 7511"/>
              <a:gd name="T23" fmla="*/ 312 h 864"/>
              <a:gd name="T24" fmla="*/ 2650 w 7511"/>
              <a:gd name="T25" fmla="*/ 628 h 864"/>
              <a:gd name="T26" fmla="*/ 2458 w 7511"/>
              <a:gd name="T27" fmla="*/ 613 h 864"/>
              <a:gd name="T28" fmla="*/ 2650 w 7511"/>
              <a:gd name="T29" fmla="*/ 524 h 864"/>
              <a:gd name="T30" fmla="*/ 2834 w 7511"/>
              <a:gd name="T31" fmla="*/ 648 h 864"/>
              <a:gd name="T32" fmla="*/ 2970 w 7511"/>
              <a:gd name="T33" fmla="*/ 650 h 864"/>
              <a:gd name="T34" fmla="*/ 3089 w 7511"/>
              <a:gd name="T35" fmla="*/ 507 h 864"/>
              <a:gd name="T36" fmla="*/ 3409 w 7511"/>
              <a:gd name="T37" fmla="*/ 321 h 864"/>
              <a:gd name="T38" fmla="*/ 3342 w 7511"/>
              <a:gd name="T39" fmla="*/ 691 h 864"/>
              <a:gd name="T40" fmla="*/ 3630 w 7511"/>
              <a:gd name="T41" fmla="*/ 321 h 864"/>
              <a:gd name="T42" fmla="*/ 3839 w 7511"/>
              <a:gd name="T43" fmla="*/ 362 h 864"/>
              <a:gd name="T44" fmla="*/ 3734 w 7511"/>
              <a:gd name="T45" fmla="*/ 483 h 864"/>
              <a:gd name="T46" fmla="*/ 3713 w 7511"/>
              <a:gd name="T47" fmla="*/ 678 h 864"/>
              <a:gd name="T48" fmla="*/ 4304 w 7511"/>
              <a:gd name="T49" fmla="*/ 410 h 864"/>
              <a:gd name="T50" fmla="*/ 4406 w 7511"/>
              <a:gd name="T51" fmla="*/ 250 h 864"/>
              <a:gd name="T52" fmla="*/ 4255 w 7511"/>
              <a:gd name="T53" fmla="*/ 450 h 864"/>
              <a:gd name="T54" fmla="*/ 4139 w 7511"/>
              <a:gd name="T55" fmla="*/ 671 h 864"/>
              <a:gd name="T56" fmla="*/ 4799 w 7511"/>
              <a:gd name="T57" fmla="*/ 490 h 864"/>
              <a:gd name="T58" fmla="*/ 4520 w 7511"/>
              <a:gd name="T59" fmla="*/ 649 h 864"/>
              <a:gd name="T60" fmla="*/ 4537 w 7511"/>
              <a:gd name="T61" fmla="*/ 521 h 864"/>
              <a:gd name="T62" fmla="*/ 4713 w 7511"/>
              <a:gd name="T63" fmla="*/ 391 h 864"/>
              <a:gd name="T64" fmla="*/ 4926 w 7511"/>
              <a:gd name="T65" fmla="*/ 397 h 864"/>
              <a:gd name="T66" fmla="*/ 4924 w 7511"/>
              <a:gd name="T67" fmla="*/ 502 h 864"/>
              <a:gd name="T68" fmla="*/ 5258 w 7511"/>
              <a:gd name="T69" fmla="*/ 624 h 864"/>
              <a:gd name="T70" fmla="*/ 5431 w 7511"/>
              <a:gd name="T71" fmla="*/ 321 h 864"/>
              <a:gd name="T72" fmla="*/ 5463 w 7511"/>
              <a:gd name="T73" fmla="*/ 407 h 864"/>
              <a:gd name="T74" fmla="*/ 5623 w 7511"/>
              <a:gd name="T75" fmla="*/ 650 h 864"/>
              <a:gd name="T76" fmla="*/ 5540 w 7511"/>
              <a:gd name="T77" fmla="*/ 392 h 864"/>
              <a:gd name="T78" fmla="*/ 5988 w 7511"/>
              <a:gd name="T79" fmla="*/ 314 h 864"/>
              <a:gd name="T80" fmla="*/ 5830 w 7511"/>
              <a:gd name="T81" fmla="*/ 691 h 864"/>
              <a:gd name="T82" fmla="*/ 6024 w 7511"/>
              <a:gd name="T83" fmla="*/ 319 h 864"/>
              <a:gd name="T84" fmla="*/ 6161 w 7511"/>
              <a:gd name="T85" fmla="*/ 691 h 864"/>
              <a:gd name="T86" fmla="*/ 6346 w 7511"/>
              <a:gd name="T87" fmla="*/ 490 h 864"/>
              <a:gd name="T88" fmla="*/ 6181 w 7511"/>
              <a:gd name="T89" fmla="*/ 214 h 864"/>
              <a:gd name="T90" fmla="*/ 6378 w 7511"/>
              <a:gd name="T91" fmla="*/ 388 h 864"/>
              <a:gd name="T92" fmla="*/ 6825 w 7511"/>
              <a:gd name="T93" fmla="*/ 629 h 864"/>
              <a:gd name="T94" fmla="*/ 6810 w 7511"/>
              <a:gd name="T95" fmla="*/ 435 h 864"/>
              <a:gd name="T96" fmla="*/ 6912 w 7511"/>
              <a:gd name="T97" fmla="*/ 244 h 864"/>
              <a:gd name="T98" fmla="*/ 7408 w 7511"/>
              <a:gd name="T99" fmla="*/ 388 h 864"/>
              <a:gd name="T100" fmla="*/ 7511 w 7511"/>
              <a:gd name="T101" fmla="*/ 691 h 864"/>
              <a:gd name="T102" fmla="*/ 7466 w 7511"/>
              <a:gd name="T103" fmla="*/ 401 h 864"/>
              <a:gd name="T104" fmla="*/ 7211 w 7511"/>
              <a:gd name="T105" fmla="*/ 277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11" h="864">
                <a:moveTo>
                  <a:pt x="382" y="67"/>
                </a:moveTo>
                <a:cubicBezTo>
                  <a:pt x="864" y="0"/>
                  <a:pt x="864" y="0"/>
                  <a:pt x="864" y="0"/>
                </a:cubicBezTo>
                <a:cubicBezTo>
                  <a:pt x="864" y="425"/>
                  <a:pt x="864" y="425"/>
                  <a:pt x="864" y="425"/>
                </a:cubicBezTo>
                <a:cubicBezTo>
                  <a:pt x="382" y="425"/>
                  <a:pt x="382" y="425"/>
                  <a:pt x="382" y="425"/>
                </a:cubicBezTo>
                <a:lnTo>
                  <a:pt x="382" y="67"/>
                </a:lnTo>
                <a:close/>
                <a:moveTo>
                  <a:pt x="368" y="425"/>
                </a:moveTo>
                <a:cubicBezTo>
                  <a:pt x="368" y="69"/>
                  <a:pt x="368" y="69"/>
                  <a:pt x="368" y="69"/>
                </a:cubicBezTo>
                <a:cubicBezTo>
                  <a:pt x="0" y="121"/>
                  <a:pt x="0" y="121"/>
                  <a:pt x="0" y="121"/>
                </a:cubicBezTo>
                <a:cubicBezTo>
                  <a:pt x="0" y="425"/>
                  <a:pt x="0" y="425"/>
                  <a:pt x="0" y="425"/>
                </a:cubicBezTo>
                <a:lnTo>
                  <a:pt x="368" y="425"/>
                </a:lnTo>
                <a:close/>
                <a:moveTo>
                  <a:pt x="368" y="439"/>
                </a:moveTo>
                <a:cubicBezTo>
                  <a:pt x="0" y="439"/>
                  <a:pt x="0" y="439"/>
                  <a:pt x="0" y="439"/>
                </a:cubicBezTo>
                <a:cubicBezTo>
                  <a:pt x="0" y="743"/>
                  <a:pt x="0" y="743"/>
                  <a:pt x="0" y="743"/>
                </a:cubicBezTo>
                <a:cubicBezTo>
                  <a:pt x="368" y="795"/>
                  <a:pt x="368" y="795"/>
                  <a:pt x="368" y="795"/>
                </a:cubicBezTo>
                <a:lnTo>
                  <a:pt x="368" y="439"/>
                </a:lnTo>
                <a:close/>
                <a:moveTo>
                  <a:pt x="382" y="439"/>
                </a:moveTo>
                <a:cubicBezTo>
                  <a:pt x="382" y="797"/>
                  <a:pt x="382" y="797"/>
                  <a:pt x="382" y="797"/>
                </a:cubicBezTo>
                <a:cubicBezTo>
                  <a:pt x="864" y="864"/>
                  <a:pt x="864" y="864"/>
                  <a:pt x="864" y="864"/>
                </a:cubicBezTo>
                <a:cubicBezTo>
                  <a:pt x="864" y="439"/>
                  <a:pt x="864" y="439"/>
                  <a:pt x="864" y="439"/>
                </a:cubicBezTo>
                <a:lnTo>
                  <a:pt x="382" y="439"/>
                </a:lnTo>
                <a:close/>
                <a:moveTo>
                  <a:pt x="1901" y="173"/>
                </a:moveTo>
                <a:cubicBezTo>
                  <a:pt x="1894" y="165"/>
                  <a:pt x="1885" y="161"/>
                  <a:pt x="1874" y="161"/>
                </a:cubicBezTo>
                <a:cubicBezTo>
                  <a:pt x="1863" y="161"/>
                  <a:pt x="1853" y="165"/>
                  <a:pt x="1846" y="173"/>
                </a:cubicBezTo>
                <a:cubicBezTo>
                  <a:pt x="1839" y="180"/>
                  <a:pt x="1835" y="189"/>
                  <a:pt x="1835" y="200"/>
                </a:cubicBezTo>
                <a:cubicBezTo>
                  <a:pt x="1835" y="211"/>
                  <a:pt x="1839" y="221"/>
                  <a:pt x="1846" y="228"/>
                </a:cubicBezTo>
                <a:cubicBezTo>
                  <a:pt x="1854" y="235"/>
                  <a:pt x="1863" y="238"/>
                  <a:pt x="1874" y="238"/>
                </a:cubicBezTo>
                <a:cubicBezTo>
                  <a:pt x="1884" y="238"/>
                  <a:pt x="1893" y="235"/>
                  <a:pt x="1901" y="227"/>
                </a:cubicBezTo>
                <a:cubicBezTo>
                  <a:pt x="1909" y="220"/>
                  <a:pt x="1913" y="211"/>
                  <a:pt x="1913" y="200"/>
                </a:cubicBezTo>
                <a:cubicBezTo>
                  <a:pt x="1913" y="189"/>
                  <a:pt x="1909" y="180"/>
                  <a:pt x="1901" y="173"/>
                </a:cubicBezTo>
                <a:close/>
                <a:moveTo>
                  <a:pt x="1730" y="172"/>
                </a:moveTo>
                <a:cubicBezTo>
                  <a:pt x="1614" y="607"/>
                  <a:pt x="1614" y="607"/>
                  <a:pt x="1614" y="607"/>
                </a:cubicBezTo>
                <a:cubicBezTo>
                  <a:pt x="1613" y="607"/>
                  <a:pt x="1613" y="607"/>
                  <a:pt x="1613" y="607"/>
                </a:cubicBezTo>
                <a:cubicBezTo>
                  <a:pt x="1494" y="172"/>
                  <a:pt x="1494" y="172"/>
                  <a:pt x="1494" y="172"/>
                </a:cubicBezTo>
                <a:cubicBezTo>
                  <a:pt x="1436" y="172"/>
                  <a:pt x="1436" y="172"/>
                  <a:pt x="1436" y="172"/>
                </a:cubicBezTo>
                <a:cubicBezTo>
                  <a:pt x="1310" y="605"/>
                  <a:pt x="1310" y="605"/>
                  <a:pt x="1310" y="605"/>
                </a:cubicBezTo>
                <a:cubicBezTo>
                  <a:pt x="1309" y="605"/>
                  <a:pt x="1309" y="605"/>
                  <a:pt x="1309" y="605"/>
                </a:cubicBezTo>
                <a:cubicBezTo>
                  <a:pt x="1189" y="172"/>
                  <a:pt x="1189" y="172"/>
                  <a:pt x="1189" y="172"/>
                </a:cubicBezTo>
                <a:cubicBezTo>
                  <a:pt x="1122" y="172"/>
                  <a:pt x="1122" y="172"/>
                  <a:pt x="1122" y="172"/>
                </a:cubicBezTo>
                <a:cubicBezTo>
                  <a:pt x="1274" y="691"/>
                  <a:pt x="1274" y="691"/>
                  <a:pt x="1274" y="691"/>
                </a:cubicBezTo>
                <a:cubicBezTo>
                  <a:pt x="1344" y="691"/>
                  <a:pt x="1344" y="691"/>
                  <a:pt x="1344" y="691"/>
                </a:cubicBezTo>
                <a:cubicBezTo>
                  <a:pt x="1460" y="280"/>
                  <a:pt x="1460" y="280"/>
                  <a:pt x="1460" y="280"/>
                </a:cubicBezTo>
                <a:cubicBezTo>
                  <a:pt x="1462" y="280"/>
                  <a:pt x="1462" y="280"/>
                  <a:pt x="1462" y="280"/>
                </a:cubicBezTo>
                <a:cubicBezTo>
                  <a:pt x="1578" y="691"/>
                  <a:pt x="1578" y="691"/>
                  <a:pt x="1578" y="691"/>
                </a:cubicBezTo>
                <a:cubicBezTo>
                  <a:pt x="1649" y="691"/>
                  <a:pt x="1649" y="691"/>
                  <a:pt x="1649" y="691"/>
                </a:cubicBezTo>
                <a:cubicBezTo>
                  <a:pt x="1796" y="172"/>
                  <a:pt x="1796" y="172"/>
                  <a:pt x="1796" y="172"/>
                </a:cubicBezTo>
                <a:lnTo>
                  <a:pt x="1730" y="172"/>
                </a:lnTo>
                <a:close/>
                <a:moveTo>
                  <a:pt x="1904" y="321"/>
                </a:moveTo>
                <a:cubicBezTo>
                  <a:pt x="1845" y="321"/>
                  <a:pt x="1845" y="321"/>
                  <a:pt x="1845" y="321"/>
                </a:cubicBezTo>
                <a:cubicBezTo>
                  <a:pt x="1845" y="691"/>
                  <a:pt x="1845" y="691"/>
                  <a:pt x="1845" y="691"/>
                </a:cubicBezTo>
                <a:cubicBezTo>
                  <a:pt x="1904" y="691"/>
                  <a:pt x="1904" y="691"/>
                  <a:pt x="1904" y="691"/>
                </a:cubicBezTo>
                <a:lnTo>
                  <a:pt x="1904" y="321"/>
                </a:lnTo>
                <a:close/>
                <a:moveTo>
                  <a:pt x="2301" y="464"/>
                </a:moveTo>
                <a:cubicBezTo>
                  <a:pt x="2301" y="416"/>
                  <a:pt x="2290" y="378"/>
                  <a:pt x="2269" y="351"/>
                </a:cubicBezTo>
                <a:cubicBezTo>
                  <a:pt x="2247" y="325"/>
                  <a:pt x="2216" y="312"/>
                  <a:pt x="2175" y="312"/>
                </a:cubicBezTo>
                <a:cubicBezTo>
                  <a:pt x="2122" y="312"/>
                  <a:pt x="2082" y="335"/>
                  <a:pt x="2054" y="382"/>
                </a:cubicBezTo>
                <a:cubicBezTo>
                  <a:pt x="2052" y="382"/>
                  <a:pt x="2052" y="382"/>
                  <a:pt x="2052" y="382"/>
                </a:cubicBezTo>
                <a:cubicBezTo>
                  <a:pt x="2052" y="321"/>
                  <a:pt x="2052" y="321"/>
                  <a:pt x="2052" y="321"/>
                </a:cubicBezTo>
                <a:cubicBezTo>
                  <a:pt x="1993" y="321"/>
                  <a:pt x="1993" y="321"/>
                  <a:pt x="1993" y="321"/>
                </a:cubicBezTo>
                <a:cubicBezTo>
                  <a:pt x="1993" y="691"/>
                  <a:pt x="1993" y="691"/>
                  <a:pt x="1993" y="691"/>
                </a:cubicBezTo>
                <a:cubicBezTo>
                  <a:pt x="2052" y="691"/>
                  <a:pt x="2052" y="691"/>
                  <a:pt x="2052" y="691"/>
                </a:cubicBezTo>
                <a:cubicBezTo>
                  <a:pt x="2052" y="480"/>
                  <a:pt x="2052" y="480"/>
                  <a:pt x="2052" y="480"/>
                </a:cubicBezTo>
                <a:cubicBezTo>
                  <a:pt x="2052" y="446"/>
                  <a:pt x="2062" y="417"/>
                  <a:pt x="2082" y="395"/>
                </a:cubicBezTo>
                <a:cubicBezTo>
                  <a:pt x="2102" y="373"/>
                  <a:pt x="2126" y="362"/>
                  <a:pt x="2155" y="362"/>
                </a:cubicBezTo>
                <a:cubicBezTo>
                  <a:pt x="2213" y="362"/>
                  <a:pt x="2241" y="402"/>
                  <a:pt x="2241" y="480"/>
                </a:cubicBezTo>
                <a:cubicBezTo>
                  <a:pt x="2241" y="691"/>
                  <a:pt x="2241" y="691"/>
                  <a:pt x="2241" y="691"/>
                </a:cubicBezTo>
                <a:cubicBezTo>
                  <a:pt x="2301" y="691"/>
                  <a:pt x="2301" y="691"/>
                  <a:pt x="2301" y="691"/>
                </a:cubicBezTo>
                <a:lnTo>
                  <a:pt x="2301" y="464"/>
                </a:lnTo>
                <a:close/>
                <a:moveTo>
                  <a:pt x="2710" y="143"/>
                </a:moveTo>
                <a:cubicBezTo>
                  <a:pt x="2650" y="143"/>
                  <a:pt x="2650" y="143"/>
                  <a:pt x="2650" y="143"/>
                </a:cubicBezTo>
                <a:cubicBezTo>
                  <a:pt x="2650" y="372"/>
                  <a:pt x="2650" y="372"/>
                  <a:pt x="2650" y="372"/>
                </a:cubicBezTo>
                <a:cubicBezTo>
                  <a:pt x="2649" y="372"/>
                  <a:pt x="2649" y="372"/>
                  <a:pt x="2649" y="372"/>
                </a:cubicBezTo>
                <a:cubicBezTo>
                  <a:pt x="2625" y="332"/>
                  <a:pt x="2588" y="312"/>
                  <a:pt x="2538" y="312"/>
                </a:cubicBezTo>
                <a:cubicBezTo>
                  <a:pt x="2486" y="312"/>
                  <a:pt x="2445" y="330"/>
                  <a:pt x="2414" y="367"/>
                </a:cubicBezTo>
                <a:cubicBezTo>
                  <a:pt x="2383" y="405"/>
                  <a:pt x="2368" y="454"/>
                  <a:pt x="2368" y="515"/>
                </a:cubicBezTo>
                <a:cubicBezTo>
                  <a:pt x="2368" y="571"/>
                  <a:pt x="2382" y="616"/>
                  <a:pt x="2410" y="650"/>
                </a:cubicBezTo>
                <a:cubicBezTo>
                  <a:pt x="2437" y="683"/>
                  <a:pt x="2475" y="700"/>
                  <a:pt x="2521" y="700"/>
                </a:cubicBezTo>
                <a:cubicBezTo>
                  <a:pt x="2579" y="700"/>
                  <a:pt x="2621" y="676"/>
                  <a:pt x="2649" y="628"/>
                </a:cubicBezTo>
                <a:cubicBezTo>
                  <a:pt x="2650" y="628"/>
                  <a:pt x="2650" y="628"/>
                  <a:pt x="2650" y="628"/>
                </a:cubicBezTo>
                <a:cubicBezTo>
                  <a:pt x="2650" y="691"/>
                  <a:pt x="2650" y="691"/>
                  <a:pt x="2650" y="691"/>
                </a:cubicBezTo>
                <a:cubicBezTo>
                  <a:pt x="2710" y="691"/>
                  <a:pt x="2710" y="691"/>
                  <a:pt x="2710" y="691"/>
                </a:cubicBezTo>
                <a:lnTo>
                  <a:pt x="2710" y="143"/>
                </a:lnTo>
                <a:close/>
                <a:moveTo>
                  <a:pt x="2619" y="614"/>
                </a:moveTo>
                <a:cubicBezTo>
                  <a:pt x="2598" y="638"/>
                  <a:pt x="2571" y="650"/>
                  <a:pt x="2538" y="650"/>
                </a:cubicBezTo>
                <a:cubicBezTo>
                  <a:pt x="2505" y="650"/>
                  <a:pt x="2478" y="637"/>
                  <a:pt x="2458" y="613"/>
                </a:cubicBezTo>
                <a:cubicBezTo>
                  <a:pt x="2439" y="588"/>
                  <a:pt x="2429" y="554"/>
                  <a:pt x="2429" y="512"/>
                </a:cubicBezTo>
                <a:cubicBezTo>
                  <a:pt x="2429" y="465"/>
                  <a:pt x="2439" y="428"/>
                  <a:pt x="2460" y="402"/>
                </a:cubicBezTo>
                <a:cubicBezTo>
                  <a:pt x="2481" y="376"/>
                  <a:pt x="2510" y="362"/>
                  <a:pt x="2545" y="362"/>
                </a:cubicBezTo>
                <a:cubicBezTo>
                  <a:pt x="2575" y="362"/>
                  <a:pt x="2599" y="372"/>
                  <a:pt x="2620" y="393"/>
                </a:cubicBezTo>
                <a:cubicBezTo>
                  <a:pt x="2640" y="413"/>
                  <a:pt x="2650" y="438"/>
                  <a:pt x="2650" y="469"/>
                </a:cubicBezTo>
                <a:cubicBezTo>
                  <a:pt x="2650" y="524"/>
                  <a:pt x="2650" y="524"/>
                  <a:pt x="2650" y="524"/>
                </a:cubicBezTo>
                <a:cubicBezTo>
                  <a:pt x="2650" y="560"/>
                  <a:pt x="2640" y="591"/>
                  <a:pt x="2619" y="614"/>
                </a:cubicBezTo>
                <a:close/>
                <a:moveTo>
                  <a:pt x="3103" y="363"/>
                </a:moveTo>
                <a:cubicBezTo>
                  <a:pt x="3072" y="329"/>
                  <a:pt x="3029" y="312"/>
                  <a:pt x="2974" y="312"/>
                </a:cubicBezTo>
                <a:cubicBezTo>
                  <a:pt x="2915" y="312"/>
                  <a:pt x="2869" y="329"/>
                  <a:pt x="2836" y="365"/>
                </a:cubicBezTo>
                <a:cubicBezTo>
                  <a:pt x="2802" y="401"/>
                  <a:pt x="2785" y="449"/>
                  <a:pt x="2785" y="510"/>
                </a:cubicBezTo>
                <a:cubicBezTo>
                  <a:pt x="2785" y="567"/>
                  <a:pt x="2802" y="613"/>
                  <a:pt x="2834" y="648"/>
                </a:cubicBezTo>
                <a:cubicBezTo>
                  <a:pt x="2867" y="683"/>
                  <a:pt x="2911" y="700"/>
                  <a:pt x="2965" y="700"/>
                </a:cubicBezTo>
                <a:cubicBezTo>
                  <a:pt x="3022" y="700"/>
                  <a:pt x="3066" y="682"/>
                  <a:pt x="3100" y="647"/>
                </a:cubicBezTo>
                <a:cubicBezTo>
                  <a:pt x="3133" y="611"/>
                  <a:pt x="3150" y="563"/>
                  <a:pt x="3150" y="505"/>
                </a:cubicBezTo>
                <a:cubicBezTo>
                  <a:pt x="3150" y="445"/>
                  <a:pt x="3134" y="398"/>
                  <a:pt x="3103" y="363"/>
                </a:cubicBezTo>
                <a:close/>
                <a:moveTo>
                  <a:pt x="3058" y="613"/>
                </a:moveTo>
                <a:cubicBezTo>
                  <a:pt x="3038" y="637"/>
                  <a:pt x="3008" y="650"/>
                  <a:pt x="2970" y="650"/>
                </a:cubicBezTo>
                <a:cubicBezTo>
                  <a:pt x="2932" y="650"/>
                  <a:pt x="2902" y="637"/>
                  <a:pt x="2880" y="612"/>
                </a:cubicBezTo>
                <a:cubicBezTo>
                  <a:pt x="2857" y="587"/>
                  <a:pt x="2846" y="553"/>
                  <a:pt x="2846" y="508"/>
                </a:cubicBezTo>
                <a:cubicBezTo>
                  <a:pt x="2846" y="462"/>
                  <a:pt x="2857" y="426"/>
                  <a:pt x="2879" y="400"/>
                </a:cubicBezTo>
                <a:cubicBezTo>
                  <a:pt x="2902" y="375"/>
                  <a:pt x="2932" y="362"/>
                  <a:pt x="2970" y="362"/>
                </a:cubicBezTo>
                <a:cubicBezTo>
                  <a:pt x="3008" y="362"/>
                  <a:pt x="3038" y="375"/>
                  <a:pt x="3058" y="400"/>
                </a:cubicBezTo>
                <a:cubicBezTo>
                  <a:pt x="3079" y="424"/>
                  <a:pt x="3089" y="460"/>
                  <a:pt x="3089" y="507"/>
                </a:cubicBezTo>
                <a:cubicBezTo>
                  <a:pt x="3089" y="553"/>
                  <a:pt x="3079" y="588"/>
                  <a:pt x="3058" y="613"/>
                </a:cubicBezTo>
                <a:close/>
                <a:moveTo>
                  <a:pt x="3630" y="321"/>
                </a:moveTo>
                <a:cubicBezTo>
                  <a:pt x="3549" y="620"/>
                  <a:pt x="3549" y="620"/>
                  <a:pt x="3549" y="620"/>
                </a:cubicBezTo>
                <a:cubicBezTo>
                  <a:pt x="3546" y="620"/>
                  <a:pt x="3546" y="620"/>
                  <a:pt x="3546" y="620"/>
                </a:cubicBezTo>
                <a:cubicBezTo>
                  <a:pt x="3464" y="321"/>
                  <a:pt x="3464" y="321"/>
                  <a:pt x="3464" y="321"/>
                </a:cubicBezTo>
                <a:cubicBezTo>
                  <a:pt x="3409" y="321"/>
                  <a:pt x="3409" y="321"/>
                  <a:pt x="3409" y="321"/>
                </a:cubicBezTo>
                <a:cubicBezTo>
                  <a:pt x="3318" y="620"/>
                  <a:pt x="3318" y="620"/>
                  <a:pt x="3318" y="620"/>
                </a:cubicBezTo>
                <a:cubicBezTo>
                  <a:pt x="3315" y="620"/>
                  <a:pt x="3315" y="620"/>
                  <a:pt x="3315" y="620"/>
                </a:cubicBezTo>
                <a:cubicBezTo>
                  <a:pt x="3233" y="321"/>
                  <a:pt x="3233" y="321"/>
                  <a:pt x="3233" y="321"/>
                </a:cubicBezTo>
                <a:cubicBezTo>
                  <a:pt x="3171" y="321"/>
                  <a:pt x="3171" y="321"/>
                  <a:pt x="3171" y="321"/>
                </a:cubicBezTo>
                <a:cubicBezTo>
                  <a:pt x="3283" y="691"/>
                  <a:pt x="3283" y="691"/>
                  <a:pt x="3283" y="691"/>
                </a:cubicBezTo>
                <a:cubicBezTo>
                  <a:pt x="3342" y="691"/>
                  <a:pt x="3342" y="691"/>
                  <a:pt x="3342" y="691"/>
                </a:cubicBezTo>
                <a:cubicBezTo>
                  <a:pt x="3432" y="404"/>
                  <a:pt x="3432" y="404"/>
                  <a:pt x="3432" y="404"/>
                </a:cubicBezTo>
                <a:cubicBezTo>
                  <a:pt x="3433" y="404"/>
                  <a:pt x="3433" y="404"/>
                  <a:pt x="3433" y="404"/>
                </a:cubicBezTo>
                <a:cubicBezTo>
                  <a:pt x="3516" y="691"/>
                  <a:pt x="3516" y="691"/>
                  <a:pt x="3516" y="691"/>
                </a:cubicBezTo>
                <a:cubicBezTo>
                  <a:pt x="3578" y="691"/>
                  <a:pt x="3578" y="691"/>
                  <a:pt x="3578" y="691"/>
                </a:cubicBezTo>
                <a:cubicBezTo>
                  <a:pt x="3689" y="321"/>
                  <a:pt x="3689" y="321"/>
                  <a:pt x="3689" y="321"/>
                </a:cubicBezTo>
                <a:lnTo>
                  <a:pt x="3630" y="321"/>
                </a:lnTo>
                <a:close/>
                <a:moveTo>
                  <a:pt x="3919" y="530"/>
                </a:moveTo>
                <a:cubicBezTo>
                  <a:pt x="3905" y="514"/>
                  <a:pt x="3880" y="498"/>
                  <a:pt x="3845" y="483"/>
                </a:cubicBezTo>
                <a:cubicBezTo>
                  <a:pt x="3816" y="471"/>
                  <a:pt x="3797" y="461"/>
                  <a:pt x="3788" y="452"/>
                </a:cubicBezTo>
                <a:cubicBezTo>
                  <a:pt x="3779" y="443"/>
                  <a:pt x="3774" y="430"/>
                  <a:pt x="3774" y="414"/>
                </a:cubicBezTo>
                <a:cubicBezTo>
                  <a:pt x="3774" y="399"/>
                  <a:pt x="3780" y="386"/>
                  <a:pt x="3792" y="377"/>
                </a:cubicBezTo>
                <a:cubicBezTo>
                  <a:pt x="3804" y="367"/>
                  <a:pt x="3820" y="362"/>
                  <a:pt x="3839" y="362"/>
                </a:cubicBezTo>
                <a:cubicBezTo>
                  <a:pt x="3871" y="362"/>
                  <a:pt x="3899" y="371"/>
                  <a:pt x="3923" y="389"/>
                </a:cubicBezTo>
                <a:cubicBezTo>
                  <a:pt x="3923" y="329"/>
                  <a:pt x="3923" y="329"/>
                  <a:pt x="3923" y="329"/>
                </a:cubicBezTo>
                <a:cubicBezTo>
                  <a:pt x="3900" y="317"/>
                  <a:pt x="3873" y="312"/>
                  <a:pt x="3844" y="312"/>
                </a:cubicBezTo>
                <a:cubicBezTo>
                  <a:pt x="3806" y="312"/>
                  <a:pt x="3775" y="322"/>
                  <a:pt x="3750" y="342"/>
                </a:cubicBezTo>
                <a:cubicBezTo>
                  <a:pt x="3726" y="363"/>
                  <a:pt x="3713" y="388"/>
                  <a:pt x="3713" y="419"/>
                </a:cubicBezTo>
                <a:cubicBezTo>
                  <a:pt x="3713" y="446"/>
                  <a:pt x="3720" y="467"/>
                  <a:pt x="3734" y="483"/>
                </a:cubicBezTo>
                <a:cubicBezTo>
                  <a:pt x="3747" y="499"/>
                  <a:pt x="3770" y="514"/>
                  <a:pt x="3803" y="528"/>
                </a:cubicBezTo>
                <a:cubicBezTo>
                  <a:pt x="3836" y="543"/>
                  <a:pt x="3856" y="555"/>
                  <a:pt x="3866" y="564"/>
                </a:cubicBezTo>
                <a:cubicBezTo>
                  <a:pt x="3875" y="572"/>
                  <a:pt x="3879" y="584"/>
                  <a:pt x="3879" y="598"/>
                </a:cubicBezTo>
                <a:cubicBezTo>
                  <a:pt x="3879" y="632"/>
                  <a:pt x="3856" y="650"/>
                  <a:pt x="3809" y="650"/>
                </a:cubicBezTo>
                <a:cubicBezTo>
                  <a:pt x="3774" y="650"/>
                  <a:pt x="3742" y="638"/>
                  <a:pt x="3713" y="614"/>
                </a:cubicBezTo>
                <a:cubicBezTo>
                  <a:pt x="3713" y="678"/>
                  <a:pt x="3713" y="678"/>
                  <a:pt x="3713" y="678"/>
                </a:cubicBezTo>
                <a:cubicBezTo>
                  <a:pt x="3739" y="693"/>
                  <a:pt x="3769" y="700"/>
                  <a:pt x="3804" y="700"/>
                </a:cubicBezTo>
                <a:cubicBezTo>
                  <a:pt x="3845" y="700"/>
                  <a:pt x="3878" y="690"/>
                  <a:pt x="3903" y="670"/>
                </a:cubicBezTo>
                <a:cubicBezTo>
                  <a:pt x="3928" y="650"/>
                  <a:pt x="3940" y="624"/>
                  <a:pt x="3940" y="592"/>
                </a:cubicBezTo>
                <a:cubicBezTo>
                  <a:pt x="3940" y="567"/>
                  <a:pt x="3933" y="547"/>
                  <a:pt x="3919" y="530"/>
                </a:cubicBezTo>
                <a:close/>
                <a:moveTo>
                  <a:pt x="4400" y="482"/>
                </a:moveTo>
                <a:cubicBezTo>
                  <a:pt x="4382" y="459"/>
                  <a:pt x="4350" y="435"/>
                  <a:pt x="4304" y="410"/>
                </a:cubicBezTo>
                <a:cubicBezTo>
                  <a:pt x="4273" y="393"/>
                  <a:pt x="4252" y="379"/>
                  <a:pt x="4239" y="369"/>
                </a:cubicBezTo>
                <a:cubicBezTo>
                  <a:pt x="4226" y="359"/>
                  <a:pt x="4217" y="348"/>
                  <a:pt x="4211" y="338"/>
                </a:cubicBezTo>
                <a:cubicBezTo>
                  <a:pt x="4206" y="328"/>
                  <a:pt x="4203" y="314"/>
                  <a:pt x="4203" y="297"/>
                </a:cubicBezTo>
                <a:cubicBezTo>
                  <a:pt x="4203" y="273"/>
                  <a:pt x="4212" y="254"/>
                  <a:pt x="4230" y="240"/>
                </a:cubicBezTo>
                <a:cubicBezTo>
                  <a:pt x="4249" y="226"/>
                  <a:pt x="4272" y="218"/>
                  <a:pt x="4301" y="218"/>
                </a:cubicBezTo>
                <a:cubicBezTo>
                  <a:pt x="4344" y="218"/>
                  <a:pt x="4379" y="229"/>
                  <a:pt x="4406" y="250"/>
                </a:cubicBezTo>
                <a:cubicBezTo>
                  <a:pt x="4406" y="182"/>
                  <a:pt x="4406" y="182"/>
                  <a:pt x="4406" y="182"/>
                </a:cubicBezTo>
                <a:cubicBezTo>
                  <a:pt x="4385" y="170"/>
                  <a:pt x="4351" y="164"/>
                  <a:pt x="4304" y="164"/>
                </a:cubicBezTo>
                <a:cubicBezTo>
                  <a:pt x="4255" y="164"/>
                  <a:pt x="4216" y="177"/>
                  <a:pt x="4185" y="202"/>
                </a:cubicBezTo>
                <a:cubicBezTo>
                  <a:pt x="4155" y="228"/>
                  <a:pt x="4139" y="261"/>
                  <a:pt x="4139" y="302"/>
                </a:cubicBezTo>
                <a:cubicBezTo>
                  <a:pt x="4139" y="333"/>
                  <a:pt x="4148" y="360"/>
                  <a:pt x="4165" y="381"/>
                </a:cubicBezTo>
                <a:cubicBezTo>
                  <a:pt x="4182" y="403"/>
                  <a:pt x="4212" y="426"/>
                  <a:pt x="4255" y="450"/>
                </a:cubicBezTo>
                <a:cubicBezTo>
                  <a:pt x="4299" y="476"/>
                  <a:pt x="4328" y="496"/>
                  <a:pt x="4342" y="512"/>
                </a:cubicBezTo>
                <a:cubicBezTo>
                  <a:pt x="4357" y="527"/>
                  <a:pt x="4364" y="546"/>
                  <a:pt x="4364" y="567"/>
                </a:cubicBezTo>
                <a:cubicBezTo>
                  <a:pt x="4364" y="619"/>
                  <a:pt x="4330" y="645"/>
                  <a:pt x="4264" y="645"/>
                </a:cubicBezTo>
                <a:cubicBezTo>
                  <a:pt x="4243" y="645"/>
                  <a:pt x="4221" y="641"/>
                  <a:pt x="4197" y="632"/>
                </a:cubicBezTo>
                <a:cubicBezTo>
                  <a:pt x="4173" y="623"/>
                  <a:pt x="4153" y="612"/>
                  <a:pt x="4139" y="599"/>
                </a:cubicBezTo>
                <a:cubicBezTo>
                  <a:pt x="4139" y="671"/>
                  <a:pt x="4139" y="671"/>
                  <a:pt x="4139" y="671"/>
                </a:cubicBezTo>
                <a:cubicBezTo>
                  <a:pt x="4149" y="678"/>
                  <a:pt x="4166" y="684"/>
                  <a:pt x="4190" y="691"/>
                </a:cubicBezTo>
                <a:cubicBezTo>
                  <a:pt x="4214" y="697"/>
                  <a:pt x="4236" y="700"/>
                  <a:pt x="4255" y="700"/>
                </a:cubicBezTo>
                <a:cubicBezTo>
                  <a:pt x="4309" y="700"/>
                  <a:pt x="4351" y="688"/>
                  <a:pt x="4381" y="663"/>
                </a:cubicBezTo>
                <a:cubicBezTo>
                  <a:pt x="4412" y="638"/>
                  <a:pt x="4428" y="604"/>
                  <a:pt x="4428" y="560"/>
                </a:cubicBezTo>
                <a:cubicBezTo>
                  <a:pt x="4428" y="531"/>
                  <a:pt x="4419" y="505"/>
                  <a:pt x="4400" y="482"/>
                </a:cubicBezTo>
                <a:close/>
                <a:moveTo>
                  <a:pt x="4799" y="490"/>
                </a:moveTo>
                <a:cubicBezTo>
                  <a:pt x="4799" y="433"/>
                  <a:pt x="4785" y="390"/>
                  <a:pt x="4759" y="359"/>
                </a:cubicBezTo>
                <a:cubicBezTo>
                  <a:pt x="4732" y="327"/>
                  <a:pt x="4694" y="312"/>
                  <a:pt x="4646" y="312"/>
                </a:cubicBezTo>
                <a:cubicBezTo>
                  <a:pt x="4614" y="312"/>
                  <a:pt x="4585" y="320"/>
                  <a:pt x="4559" y="337"/>
                </a:cubicBezTo>
                <a:cubicBezTo>
                  <a:pt x="4533" y="353"/>
                  <a:pt x="4513" y="377"/>
                  <a:pt x="4498" y="407"/>
                </a:cubicBezTo>
                <a:cubicBezTo>
                  <a:pt x="4483" y="437"/>
                  <a:pt x="4476" y="471"/>
                  <a:pt x="4476" y="507"/>
                </a:cubicBezTo>
                <a:cubicBezTo>
                  <a:pt x="4476" y="568"/>
                  <a:pt x="4491" y="615"/>
                  <a:pt x="4520" y="649"/>
                </a:cubicBezTo>
                <a:cubicBezTo>
                  <a:pt x="4550" y="683"/>
                  <a:pt x="4591" y="700"/>
                  <a:pt x="4644" y="700"/>
                </a:cubicBezTo>
                <a:cubicBezTo>
                  <a:pt x="4698" y="700"/>
                  <a:pt x="4741" y="688"/>
                  <a:pt x="4773" y="664"/>
                </a:cubicBezTo>
                <a:cubicBezTo>
                  <a:pt x="4773" y="609"/>
                  <a:pt x="4773" y="609"/>
                  <a:pt x="4773" y="609"/>
                </a:cubicBezTo>
                <a:cubicBezTo>
                  <a:pt x="4738" y="636"/>
                  <a:pt x="4700" y="650"/>
                  <a:pt x="4658" y="650"/>
                </a:cubicBezTo>
                <a:cubicBezTo>
                  <a:pt x="4621" y="650"/>
                  <a:pt x="4592" y="639"/>
                  <a:pt x="4570" y="617"/>
                </a:cubicBezTo>
                <a:cubicBezTo>
                  <a:pt x="4549" y="594"/>
                  <a:pt x="4538" y="563"/>
                  <a:pt x="4537" y="521"/>
                </a:cubicBezTo>
                <a:cubicBezTo>
                  <a:pt x="4799" y="521"/>
                  <a:pt x="4799" y="521"/>
                  <a:pt x="4799" y="521"/>
                </a:cubicBezTo>
                <a:lnTo>
                  <a:pt x="4799" y="490"/>
                </a:lnTo>
                <a:close/>
                <a:moveTo>
                  <a:pt x="4538" y="471"/>
                </a:moveTo>
                <a:cubicBezTo>
                  <a:pt x="4543" y="438"/>
                  <a:pt x="4555" y="412"/>
                  <a:pt x="4575" y="392"/>
                </a:cubicBezTo>
                <a:cubicBezTo>
                  <a:pt x="4595" y="372"/>
                  <a:pt x="4618" y="362"/>
                  <a:pt x="4646" y="362"/>
                </a:cubicBezTo>
                <a:cubicBezTo>
                  <a:pt x="4675" y="362"/>
                  <a:pt x="4697" y="372"/>
                  <a:pt x="4713" y="391"/>
                </a:cubicBezTo>
                <a:cubicBezTo>
                  <a:pt x="4729" y="410"/>
                  <a:pt x="4738" y="436"/>
                  <a:pt x="4738" y="471"/>
                </a:cubicBezTo>
                <a:lnTo>
                  <a:pt x="4538" y="471"/>
                </a:lnTo>
                <a:close/>
                <a:moveTo>
                  <a:pt x="5058" y="319"/>
                </a:moveTo>
                <a:cubicBezTo>
                  <a:pt x="5050" y="316"/>
                  <a:pt x="5038" y="314"/>
                  <a:pt x="5023" y="314"/>
                </a:cubicBezTo>
                <a:cubicBezTo>
                  <a:pt x="5001" y="314"/>
                  <a:pt x="4981" y="322"/>
                  <a:pt x="4964" y="336"/>
                </a:cubicBezTo>
                <a:cubicBezTo>
                  <a:pt x="4947" y="351"/>
                  <a:pt x="4934" y="371"/>
                  <a:pt x="4926" y="397"/>
                </a:cubicBezTo>
                <a:cubicBezTo>
                  <a:pt x="4924" y="397"/>
                  <a:pt x="4924" y="397"/>
                  <a:pt x="4924" y="397"/>
                </a:cubicBezTo>
                <a:cubicBezTo>
                  <a:pt x="4924" y="321"/>
                  <a:pt x="4924" y="321"/>
                  <a:pt x="4924" y="321"/>
                </a:cubicBezTo>
                <a:cubicBezTo>
                  <a:pt x="4865" y="321"/>
                  <a:pt x="4865" y="321"/>
                  <a:pt x="4865" y="321"/>
                </a:cubicBezTo>
                <a:cubicBezTo>
                  <a:pt x="4865" y="691"/>
                  <a:pt x="4865" y="691"/>
                  <a:pt x="4865" y="691"/>
                </a:cubicBezTo>
                <a:cubicBezTo>
                  <a:pt x="4924" y="691"/>
                  <a:pt x="4924" y="691"/>
                  <a:pt x="4924" y="691"/>
                </a:cubicBezTo>
                <a:cubicBezTo>
                  <a:pt x="4924" y="502"/>
                  <a:pt x="4924" y="502"/>
                  <a:pt x="4924" y="502"/>
                </a:cubicBezTo>
                <a:cubicBezTo>
                  <a:pt x="4924" y="463"/>
                  <a:pt x="4933" y="431"/>
                  <a:pt x="4949" y="406"/>
                </a:cubicBezTo>
                <a:cubicBezTo>
                  <a:pt x="4965" y="381"/>
                  <a:pt x="4987" y="369"/>
                  <a:pt x="5013" y="369"/>
                </a:cubicBezTo>
                <a:cubicBezTo>
                  <a:pt x="5033" y="369"/>
                  <a:pt x="5048" y="373"/>
                  <a:pt x="5058" y="381"/>
                </a:cubicBezTo>
                <a:lnTo>
                  <a:pt x="5058" y="319"/>
                </a:lnTo>
                <a:close/>
                <a:moveTo>
                  <a:pt x="5369" y="321"/>
                </a:moveTo>
                <a:cubicBezTo>
                  <a:pt x="5258" y="624"/>
                  <a:pt x="5258" y="624"/>
                  <a:pt x="5258" y="624"/>
                </a:cubicBezTo>
                <a:cubicBezTo>
                  <a:pt x="5256" y="624"/>
                  <a:pt x="5256" y="624"/>
                  <a:pt x="5256" y="624"/>
                </a:cubicBezTo>
                <a:cubicBezTo>
                  <a:pt x="5150" y="321"/>
                  <a:pt x="5150" y="321"/>
                  <a:pt x="5150" y="321"/>
                </a:cubicBezTo>
                <a:cubicBezTo>
                  <a:pt x="5084" y="321"/>
                  <a:pt x="5084" y="321"/>
                  <a:pt x="5084" y="321"/>
                </a:cubicBezTo>
                <a:cubicBezTo>
                  <a:pt x="5225" y="691"/>
                  <a:pt x="5225" y="691"/>
                  <a:pt x="5225" y="691"/>
                </a:cubicBezTo>
                <a:cubicBezTo>
                  <a:pt x="5283" y="691"/>
                  <a:pt x="5283" y="691"/>
                  <a:pt x="5283" y="691"/>
                </a:cubicBezTo>
                <a:cubicBezTo>
                  <a:pt x="5431" y="321"/>
                  <a:pt x="5431" y="321"/>
                  <a:pt x="5431" y="321"/>
                </a:cubicBezTo>
                <a:lnTo>
                  <a:pt x="5369" y="321"/>
                </a:lnTo>
                <a:close/>
                <a:moveTo>
                  <a:pt x="5764" y="490"/>
                </a:moveTo>
                <a:cubicBezTo>
                  <a:pt x="5764" y="433"/>
                  <a:pt x="5751" y="390"/>
                  <a:pt x="5724" y="359"/>
                </a:cubicBezTo>
                <a:cubicBezTo>
                  <a:pt x="5697" y="327"/>
                  <a:pt x="5660" y="312"/>
                  <a:pt x="5612" y="312"/>
                </a:cubicBezTo>
                <a:cubicBezTo>
                  <a:pt x="5580" y="312"/>
                  <a:pt x="5551" y="320"/>
                  <a:pt x="5525" y="337"/>
                </a:cubicBezTo>
                <a:cubicBezTo>
                  <a:pt x="5499" y="353"/>
                  <a:pt x="5478" y="377"/>
                  <a:pt x="5463" y="407"/>
                </a:cubicBezTo>
                <a:cubicBezTo>
                  <a:pt x="5449" y="437"/>
                  <a:pt x="5441" y="471"/>
                  <a:pt x="5441" y="507"/>
                </a:cubicBezTo>
                <a:cubicBezTo>
                  <a:pt x="5441" y="568"/>
                  <a:pt x="5456" y="615"/>
                  <a:pt x="5486" y="649"/>
                </a:cubicBezTo>
                <a:cubicBezTo>
                  <a:pt x="5515" y="683"/>
                  <a:pt x="5557" y="700"/>
                  <a:pt x="5609" y="700"/>
                </a:cubicBezTo>
                <a:cubicBezTo>
                  <a:pt x="5663" y="700"/>
                  <a:pt x="5706" y="688"/>
                  <a:pt x="5738" y="664"/>
                </a:cubicBezTo>
                <a:cubicBezTo>
                  <a:pt x="5738" y="609"/>
                  <a:pt x="5738" y="609"/>
                  <a:pt x="5738" y="609"/>
                </a:cubicBezTo>
                <a:cubicBezTo>
                  <a:pt x="5704" y="636"/>
                  <a:pt x="5665" y="650"/>
                  <a:pt x="5623" y="650"/>
                </a:cubicBezTo>
                <a:cubicBezTo>
                  <a:pt x="5586" y="650"/>
                  <a:pt x="5557" y="639"/>
                  <a:pt x="5536" y="617"/>
                </a:cubicBezTo>
                <a:cubicBezTo>
                  <a:pt x="5515" y="594"/>
                  <a:pt x="5504" y="563"/>
                  <a:pt x="5503" y="521"/>
                </a:cubicBezTo>
                <a:cubicBezTo>
                  <a:pt x="5764" y="521"/>
                  <a:pt x="5764" y="521"/>
                  <a:pt x="5764" y="521"/>
                </a:cubicBezTo>
                <a:lnTo>
                  <a:pt x="5764" y="490"/>
                </a:lnTo>
                <a:close/>
                <a:moveTo>
                  <a:pt x="5503" y="471"/>
                </a:moveTo>
                <a:cubicBezTo>
                  <a:pt x="5508" y="438"/>
                  <a:pt x="5521" y="412"/>
                  <a:pt x="5540" y="392"/>
                </a:cubicBezTo>
                <a:cubicBezTo>
                  <a:pt x="5560" y="372"/>
                  <a:pt x="5583" y="362"/>
                  <a:pt x="5611" y="362"/>
                </a:cubicBezTo>
                <a:cubicBezTo>
                  <a:pt x="5640" y="362"/>
                  <a:pt x="5663" y="372"/>
                  <a:pt x="5679" y="391"/>
                </a:cubicBezTo>
                <a:cubicBezTo>
                  <a:pt x="5695" y="410"/>
                  <a:pt x="5703" y="436"/>
                  <a:pt x="5703" y="471"/>
                </a:cubicBezTo>
                <a:lnTo>
                  <a:pt x="5503" y="471"/>
                </a:lnTo>
                <a:close/>
                <a:moveTo>
                  <a:pt x="6024" y="319"/>
                </a:moveTo>
                <a:cubicBezTo>
                  <a:pt x="6015" y="316"/>
                  <a:pt x="6004" y="314"/>
                  <a:pt x="5988" y="314"/>
                </a:cubicBezTo>
                <a:cubicBezTo>
                  <a:pt x="5966" y="314"/>
                  <a:pt x="5946" y="322"/>
                  <a:pt x="5929" y="336"/>
                </a:cubicBezTo>
                <a:cubicBezTo>
                  <a:pt x="5912" y="351"/>
                  <a:pt x="5899" y="371"/>
                  <a:pt x="5891" y="397"/>
                </a:cubicBezTo>
                <a:cubicBezTo>
                  <a:pt x="5890" y="397"/>
                  <a:pt x="5890" y="397"/>
                  <a:pt x="5890" y="397"/>
                </a:cubicBezTo>
                <a:cubicBezTo>
                  <a:pt x="5890" y="321"/>
                  <a:pt x="5890" y="321"/>
                  <a:pt x="5890" y="321"/>
                </a:cubicBezTo>
                <a:cubicBezTo>
                  <a:pt x="5830" y="321"/>
                  <a:pt x="5830" y="321"/>
                  <a:pt x="5830" y="321"/>
                </a:cubicBezTo>
                <a:cubicBezTo>
                  <a:pt x="5830" y="691"/>
                  <a:pt x="5830" y="691"/>
                  <a:pt x="5830" y="691"/>
                </a:cubicBezTo>
                <a:cubicBezTo>
                  <a:pt x="5890" y="691"/>
                  <a:pt x="5890" y="691"/>
                  <a:pt x="5890" y="691"/>
                </a:cubicBezTo>
                <a:cubicBezTo>
                  <a:pt x="5890" y="502"/>
                  <a:pt x="5890" y="502"/>
                  <a:pt x="5890" y="502"/>
                </a:cubicBezTo>
                <a:cubicBezTo>
                  <a:pt x="5890" y="463"/>
                  <a:pt x="5898" y="431"/>
                  <a:pt x="5914" y="406"/>
                </a:cubicBezTo>
                <a:cubicBezTo>
                  <a:pt x="5931" y="381"/>
                  <a:pt x="5952" y="369"/>
                  <a:pt x="5978" y="369"/>
                </a:cubicBezTo>
                <a:cubicBezTo>
                  <a:pt x="5998" y="369"/>
                  <a:pt x="6013" y="373"/>
                  <a:pt x="6024" y="381"/>
                </a:cubicBezTo>
                <a:lnTo>
                  <a:pt x="6024" y="319"/>
                </a:lnTo>
                <a:close/>
                <a:moveTo>
                  <a:pt x="6378" y="388"/>
                </a:moveTo>
                <a:cubicBezTo>
                  <a:pt x="6363" y="411"/>
                  <a:pt x="6338" y="436"/>
                  <a:pt x="6302" y="462"/>
                </a:cubicBezTo>
                <a:cubicBezTo>
                  <a:pt x="6257" y="495"/>
                  <a:pt x="6226" y="520"/>
                  <a:pt x="6209" y="539"/>
                </a:cubicBezTo>
                <a:cubicBezTo>
                  <a:pt x="6191" y="557"/>
                  <a:pt x="6179" y="576"/>
                  <a:pt x="6172" y="596"/>
                </a:cubicBezTo>
                <a:cubicBezTo>
                  <a:pt x="6165" y="615"/>
                  <a:pt x="6161" y="638"/>
                  <a:pt x="6161" y="666"/>
                </a:cubicBezTo>
                <a:cubicBezTo>
                  <a:pt x="6161" y="691"/>
                  <a:pt x="6161" y="691"/>
                  <a:pt x="6161" y="691"/>
                </a:cubicBezTo>
                <a:cubicBezTo>
                  <a:pt x="6481" y="691"/>
                  <a:pt x="6481" y="691"/>
                  <a:pt x="6481" y="691"/>
                </a:cubicBezTo>
                <a:cubicBezTo>
                  <a:pt x="6481" y="638"/>
                  <a:pt x="6481" y="638"/>
                  <a:pt x="6481" y="638"/>
                </a:cubicBezTo>
                <a:cubicBezTo>
                  <a:pt x="6223" y="638"/>
                  <a:pt x="6223" y="638"/>
                  <a:pt x="6223" y="638"/>
                </a:cubicBezTo>
                <a:cubicBezTo>
                  <a:pt x="6223" y="621"/>
                  <a:pt x="6226" y="606"/>
                  <a:pt x="6231" y="594"/>
                </a:cubicBezTo>
                <a:cubicBezTo>
                  <a:pt x="6237" y="581"/>
                  <a:pt x="6247" y="568"/>
                  <a:pt x="6261" y="555"/>
                </a:cubicBezTo>
                <a:cubicBezTo>
                  <a:pt x="6275" y="542"/>
                  <a:pt x="6303" y="520"/>
                  <a:pt x="6346" y="490"/>
                </a:cubicBezTo>
                <a:cubicBezTo>
                  <a:pt x="6389" y="459"/>
                  <a:pt x="6419" y="429"/>
                  <a:pt x="6436" y="401"/>
                </a:cubicBezTo>
                <a:cubicBezTo>
                  <a:pt x="6453" y="373"/>
                  <a:pt x="6461" y="340"/>
                  <a:pt x="6461" y="303"/>
                </a:cubicBezTo>
                <a:cubicBezTo>
                  <a:pt x="6461" y="261"/>
                  <a:pt x="6448" y="227"/>
                  <a:pt x="6420" y="201"/>
                </a:cubicBezTo>
                <a:cubicBezTo>
                  <a:pt x="6393" y="176"/>
                  <a:pt x="6357" y="164"/>
                  <a:pt x="6312" y="164"/>
                </a:cubicBezTo>
                <a:cubicBezTo>
                  <a:pt x="6283" y="164"/>
                  <a:pt x="6258" y="168"/>
                  <a:pt x="6237" y="177"/>
                </a:cubicBezTo>
                <a:cubicBezTo>
                  <a:pt x="6216" y="185"/>
                  <a:pt x="6198" y="197"/>
                  <a:pt x="6181" y="214"/>
                </a:cubicBezTo>
                <a:cubicBezTo>
                  <a:pt x="6181" y="277"/>
                  <a:pt x="6181" y="277"/>
                  <a:pt x="6181" y="277"/>
                </a:cubicBezTo>
                <a:cubicBezTo>
                  <a:pt x="6199" y="258"/>
                  <a:pt x="6218" y="242"/>
                  <a:pt x="6240" y="231"/>
                </a:cubicBezTo>
                <a:cubicBezTo>
                  <a:pt x="6262" y="220"/>
                  <a:pt x="6284" y="214"/>
                  <a:pt x="6305" y="214"/>
                </a:cubicBezTo>
                <a:cubicBezTo>
                  <a:pt x="6335" y="214"/>
                  <a:pt x="6358" y="222"/>
                  <a:pt x="6375" y="239"/>
                </a:cubicBezTo>
                <a:cubicBezTo>
                  <a:pt x="6392" y="256"/>
                  <a:pt x="6401" y="279"/>
                  <a:pt x="6401" y="308"/>
                </a:cubicBezTo>
                <a:cubicBezTo>
                  <a:pt x="6401" y="338"/>
                  <a:pt x="6393" y="365"/>
                  <a:pt x="6378" y="388"/>
                </a:cubicBezTo>
                <a:close/>
                <a:moveTo>
                  <a:pt x="6708" y="164"/>
                </a:moveTo>
                <a:cubicBezTo>
                  <a:pt x="6650" y="164"/>
                  <a:pt x="6607" y="188"/>
                  <a:pt x="6577" y="235"/>
                </a:cubicBezTo>
                <a:cubicBezTo>
                  <a:pt x="6548" y="283"/>
                  <a:pt x="6533" y="352"/>
                  <a:pt x="6533" y="442"/>
                </a:cubicBezTo>
                <a:cubicBezTo>
                  <a:pt x="6533" y="525"/>
                  <a:pt x="6547" y="589"/>
                  <a:pt x="6576" y="633"/>
                </a:cubicBezTo>
                <a:cubicBezTo>
                  <a:pt x="6604" y="678"/>
                  <a:pt x="6645" y="700"/>
                  <a:pt x="6697" y="700"/>
                </a:cubicBezTo>
                <a:cubicBezTo>
                  <a:pt x="6752" y="700"/>
                  <a:pt x="6795" y="677"/>
                  <a:pt x="6825" y="629"/>
                </a:cubicBezTo>
                <a:cubicBezTo>
                  <a:pt x="6856" y="582"/>
                  <a:pt x="6871" y="515"/>
                  <a:pt x="6871" y="430"/>
                </a:cubicBezTo>
                <a:cubicBezTo>
                  <a:pt x="6871" y="252"/>
                  <a:pt x="6816" y="164"/>
                  <a:pt x="6708" y="164"/>
                </a:cubicBezTo>
                <a:close/>
                <a:moveTo>
                  <a:pt x="6702" y="650"/>
                </a:moveTo>
                <a:cubicBezTo>
                  <a:pt x="6630" y="650"/>
                  <a:pt x="6594" y="580"/>
                  <a:pt x="6594" y="439"/>
                </a:cubicBezTo>
                <a:cubicBezTo>
                  <a:pt x="6594" y="289"/>
                  <a:pt x="6631" y="214"/>
                  <a:pt x="6705" y="214"/>
                </a:cubicBezTo>
                <a:cubicBezTo>
                  <a:pt x="6775" y="214"/>
                  <a:pt x="6810" y="288"/>
                  <a:pt x="6810" y="435"/>
                </a:cubicBezTo>
                <a:cubicBezTo>
                  <a:pt x="6810" y="578"/>
                  <a:pt x="6774" y="650"/>
                  <a:pt x="6702" y="650"/>
                </a:cubicBezTo>
                <a:close/>
                <a:moveTo>
                  <a:pt x="7091" y="691"/>
                </a:moveTo>
                <a:cubicBezTo>
                  <a:pt x="7091" y="161"/>
                  <a:pt x="7091" y="161"/>
                  <a:pt x="7091" y="161"/>
                </a:cubicBezTo>
                <a:cubicBezTo>
                  <a:pt x="7069" y="161"/>
                  <a:pt x="7069" y="161"/>
                  <a:pt x="7069" y="161"/>
                </a:cubicBezTo>
                <a:cubicBezTo>
                  <a:pt x="7051" y="177"/>
                  <a:pt x="7026" y="193"/>
                  <a:pt x="6996" y="209"/>
                </a:cubicBezTo>
                <a:cubicBezTo>
                  <a:pt x="6966" y="225"/>
                  <a:pt x="6938" y="237"/>
                  <a:pt x="6912" y="244"/>
                </a:cubicBezTo>
                <a:cubicBezTo>
                  <a:pt x="6912" y="304"/>
                  <a:pt x="6912" y="304"/>
                  <a:pt x="6912" y="304"/>
                </a:cubicBezTo>
                <a:cubicBezTo>
                  <a:pt x="6932" y="299"/>
                  <a:pt x="6955" y="290"/>
                  <a:pt x="6979" y="278"/>
                </a:cubicBezTo>
                <a:cubicBezTo>
                  <a:pt x="7004" y="265"/>
                  <a:pt x="7022" y="253"/>
                  <a:pt x="7032" y="243"/>
                </a:cubicBezTo>
                <a:cubicBezTo>
                  <a:pt x="7032" y="691"/>
                  <a:pt x="7032" y="691"/>
                  <a:pt x="7032" y="691"/>
                </a:cubicBezTo>
                <a:lnTo>
                  <a:pt x="7091" y="691"/>
                </a:lnTo>
                <a:close/>
                <a:moveTo>
                  <a:pt x="7408" y="388"/>
                </a:moveTo>
                <a:cubicBezTo>
                  <a:pt x="7393" y="411"/>
                  <a:pt x="7368" y="436"/>
                  <a:pt x="7332" y="462"/>
                </a:cubicBezTo>
                <a:cubicBezTo>
                  <a:pt x="7287" y="495"/>
                  <a:pt x="7256" y="520"/>
                  <a:pt x="7239" y="539"/>
                </a:cubicBezTo>
                <a:cubicBezTo>
                  <a:pt x="7222" y="557"/>
                  <a:pt x="7209" y="576"/>
                  <a:pt x="7202" y="596"/>
                </a:cubicBezTo>
                <a:cubicBezTo>
                  <a:pt x="7195" y="615"/>
                  <a:pt x="7191" y="638"/>
                  <a:pt x="7191" y="666"/>
                </a:cubicBezTo>
                <a:cubicBezTo>
                  <a:pt x="7191" y="691"/>
                  <a:pt x="7191" y="691"/>
                  <a:pt x="7191" y="691"/>
                </a:cubicBezTo>
                <a:cubicBezTo>
                  <a:pt x="7511" y="691"/>
                  <a:pt x="7511" y="691"/>
                  <a:pt x="7511" y="691"/>
                </a:cubicBezTo>
                <a:cubicBezTo>
                  <a:pt x="7511" y="638"/>
                  <a:pt x="7511" y="638"/>
                  <a:pt x="7511" y="638"/>
                </a:cubicBezTo>
                <a:cubicBezTo>
                  <a:pt x="7253" y="638"/>
                  <a:pt x="7253" y="638"/>
                  <a:pt x="7253" y="638"/>
                </a:cubicBezTo>
                <a:cubicBezTo>
                  <a:pt x="7253" y="621"/>
                  <a:pt x="7256" y="606"/>
                  <a:pt x="7261" y="594"/>
                </a:cubicBezTo>
                <a:cubicBezTo>
                  <a:pt x="7267" y="581"/>
                  <a:pt x="7277" y="568"/>
                  <a:pt x="7291" y="555"/>
                </a:cubicBezTo>
                <a:cubicBezTo>
                  <a:pt x="7305" y="542"/>
                  <a:pt x="7333" y="520"/>
                  <a:pt x="7376" y="490"/>
                </a:cubicBezTo>
                <a:cubicBezTo>
                  <a:pt x="7419" y="459"/>
                  <a:pt x="7449" y="429"/>
                  <a:pt x="7466" y="401"/>
                </a:cubicBezTo>
                <a:cubicBezTo>
                  <a:pt x="7483" y="373"/>
                  <a:pt x="7491" y="340"/>
                  <a:pt x="7491" y="303"/>
                </a:cubicBezTo>
                <a:cubicBezTo>
                  <a:pt x="7491" y="261"/>
                  <a:pt x="7478" y="227"/>
                  <a:pt x="7450" y="201"/>
                </a:cubicBezTo>
                <a:cubicBezTo>
                  <a:pt x="7423" y="176"/>
                  <a:pt x="7387" y="164"/>
                  <a:pt x="7343" y="164"/>
                </a:cubicBezTo>
                <a:cubicBezTo>
                  <a:pt x="7313" y="164"/>
                  <a:pt x="7288" y="168"/>
                  <a:pt x="7267" y="177"/>
                </a:cubicBezTo>
                <a:cubicBezTo>
                  <a:pt x="7246" y="185"/>
                  <a:pt x="7228" y="197"/>
                  <a:pt x="7211" y="214"/>
                </a:cubicBezTo>
                <a:cubicBezTo>
                  <a:pt x="7211" y="277"/>
                  <a:pt x="7211" y="277"/>
                  <a:pt x="7211" y="277"/>
                </a:cubicBezTo>
                <a:cubicBezTo>
                  <a:pt x="7229" y="258"/>
                  <a:pt x="7249" y="242"/>
                  <a:pt x="7270" y="231"/>
                </a:cubicBezTo>
                <a:cubicBezTo>
                  <a:pt x="7292" y="220"/>
                  <a:pt x="7314" y="214"/>
                  <a:pt x="7335" y="214"/>
                </a:cubicBezTo>
                <a:cubicBezTo>
                  <a:pt x="7365" y="214"/>
                  <a:pt x="7388" y="222"/>
                  <a:pt x="7405" y="239"/>
                </a:cubicBezTo>
                <a:cubicBezTo>
                  <a:pt x="7422" y="256"/>
                  <a:pt x="7431" y="279"/>
                  <a:pt x="7431" y="308"/>
                </a:cubicBezTo>
                <a:cubicBezTo>
                  <a:pt x="7431" y="338"/>
                  <a:pt x="7423" y="365"/>
                  <a:pt x="7408" y="388"/>
                </a:cubicBezTo>
                <a:close/>
              </a:path>
            </a:pathLst>
          </a:custGeom>
          <a:solidFill>
            <a:srgbClr val="FFFFFF"/>
          </a:solidFill>
          <a:ln>
            <a:noFill/>
          </a:ln>
        </p:spPr>
        <p:txBody>
          <a:bodyPr vert="horz" wrap="square" lIns="89582" tIns="44793" rIns="89582" bIns="44793" numCol="1" anchor="t" anchorCtr="0" compatLnSpc="1">
            <a:prstTxWarp prst="textNoShape">
              <a:avLst/>
            </a:prstTxWarp>
          </a:bodyPr>
          <a:lstStyle/>
          <a:p>
            <a:pPr defTabSz="908230">
              <a:defRPr/>
            </a:pPr>
            <a:endParaRPr lang="en-US" sz="1765" kern="0">
              <a:solidFill>
                <a:srgbClr val="505050"/>
              </a:solidFill>
            </a:endParaRPr>
          </a:p>
        </p:txBody>
      </p:sp>
      <p:grpSp>
        <p:nvGrpSpPr>
          <p:cNvPr id="23" name="Group 14"/>
          <p:cNvGrpSpPr/>
          <p:nvPr/>
        </p:nvGrpSpPr>
        <p:grpSpPr>
          <a:xfrm>
            <a:off x="3750749" y="2087569"/>
            <a:ext cx="1937230" cy="1193855"/>
            <a:chOff x="6162489" y="3096432"/>
            <a:chExt cx="1976635" cy="1218140"/>
          </a:xfrm>
        </p:grpSpPr>
        <p:grpSp>
          <p:nvGrpSpPr>
            <p:cNvPr id="24" name="Group 12"/>
            <p:cNvGrpSpPr/>
            <p:nvPr/>
          </p:nvGrpSpPr>
          <p:grpSpPr>
            <a:xfrm>
              <a:off x="6162489" y="3096432"/>
              <a:ext cx="1976635" cy="1218140"/>
              <a:chOff x="6162489" y="3096432"/>
              <a:chExt cx="1976635" cy="1218140"/>
            </a:xfrm>
          </p:grpSpPr>
          <p:sp>
            <p:nvSpPr>
              <p:cNvPr id="48" name="Rectangle 56"/>
              <p:cNvSpPr/>
              <p:nvPr/>
            </p:nvSpPr>
            <p:spPr bwMode="auto">
              <a:xfrm>
                <a:off x="6162490" y="3096432"/>
                <a:ext cx="1976634" cy="374928"/>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7773" tIns="87773" rIns="87773" bIns="87773" numCol="1" spcCol="0" rtlCol="0" fromWordArt="0" anchor="t" anchorCtr="0" forceAA="0" compatLnSpc="1">
                <a:prstTxWarp prst="textNoShape">
                  <a:avLst/>
                </a:prstTxWarp>
                <a:spAutoFit/>
              </a:bodyPr>
              <a:lstStyle/>
              <a:p>
                <a:pPr defTabSz="877144" fontAlgn="base">
                  <a:lnSpc>
                    <a:spcPct val="90000"/>
                  </a:lnSpc>
                  <a:spcBef>
                    <a:spcPct val="0"/>
                  </a:spcBef>
                  <a:spcAft>
                    <a:spcPct val="0"/>
                  </a:spcAft>
                  <a:defRPr/>
                </a:pPr>
                <a:r>
                  <a:rPr lang="en-US" sz="1370" kern="0" spc="-48" dirty="0">
                    <a:gradFill>
                      <a:gsLst>
                        <a:gs pos="1250">
                          <a:srgbClr val="FFFFFF"/>
                        </a:gs>
                        <a:gs pos="10417">
                          <a:srgbClr val="FFFFFF"/>
                        </a:gs>
                      </a:gsLst>
                      <a:lin ang="5400000" scaled="0"/>
                    </a:gradFill>
                  </a:rPr>
                  <a:t>Management Portal/API</a:t>
                </a:r>
              </a:p>
            </p:txBody>
          </p:sp>
          <p:grpSp>
            <p:nvGrpSpPr>
              <p:cNvPr id="49" name="Group 11"/>
              <p:cNvGrpSpPr/>
              <p:nvPr/>
            </p:nvGrpSpPr>
            <p:grpSpPr>
              <a:xfrm>
                <a:off x="6162489" y="3686986"/>
                <a:ext cx="1975450" cy="627586"/>
                <a:chOff x="6162489" y="3686986"/>
                <a:chExt cx="1975450" cy="627586"/>
              </a:xfrm>
            </p:grpSpPr>
            <p:sp>
              <p:nvSpPr>
                <p:cNvPr id="50" name="Rectangle 57"/>
                <p:cNvSpPr/>
                <p:nvPr/>
              </p:nvSpPr>
              <p:spPr bwMode="auto">
                <a:xfrm>
                  <a:off x="6162489" y="3686986"/>
                  <a:ext cx="627578" cy="627586"/>
                </a:xfrm>
                <a:prstGeom prst="rect">
                  <a:avLst/>
                </a:prstGeom>
                <a:solidFill>
                  <a:srgbClr val="FFFFFF">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87773" tIns="43885" rIns="87773" bIns="43885" numCol="1" spcCol="0" rtlCol="0" fromWordArt="0" anchor="t" anchorCtr="0" forceAA="0" compatLnSpc="1">
                  <a:prstTxWarp prst="textNoShape">
                    <a:avLst/>
                  </a:prstTxWarp>
                  <a:noAutofit/>
                </a:bodyPr>
                <a:lstStyle/>
                <a:p>
                  <a:pPr defTabSz="877144" fontAlgn="base">
                    <a:lnSpc>
                      <a:spcPct val="90000"/>
                    </a:lnSpc>
                    <a:spcBef>
                      <a:spcPct val="0"/>
                    </a:spcBef>
                    <a:spcAft>
                      <a:spcPct val="0"/>
                    </a:spcAft>
                    <a:defRPr/>
                  </a:pPr>
                  <a:r>
                    <a:rPr lang="en-US" sz="980" kern="0" spc="-28" dirty="0">
                      <a:gradFill>
                        <a:gsLst>
                          <a:gs pos="1250">
                            <a:srgbClr val="FFFFFF"/>
                          </a:gs>
                          <a:gs pos="10417">
                            <a:srgbClr val="FFFFFF"/>
                          </a:gs>
                        </a:gsLst>
                        <a:lin ang="5400000" scaled="0"/>
                      </a:gradFill>
                    </a:rPr>
                    <a:t>Web </a:t>
                  </a:r>
                  <a:br>
                    <a:rPr lang="en-US" sz="980" kern="0" spc="-28" dirty="0">
                      <a:gradFill>
                        <a:gsLst>
                          <a:gs pos="1250">
                            <a:srgbClr val="FFFFFF"/>
                          </a:gs>
                          <a:gs pos="10417">
                            <a:srgbClr val="FFFFFF"/>
                          </a:gs>
                        </a:gsLst>
                        <a:lin ang="5400000" scaled="0"/>
                      </a:gradFill>
                    </a:rPr>
                  </a:br>
                  <a:r>
                    <a:rPr lang="en-US" sz="980" kern="0" spc="-28" dirty="0">
                      <a:gradFill>
                        <a:gsLst>
                          <a:gs pos="1250">
                            <a:srgbClr val="FFFFFF"/>
                          </a:gs>
                          <a:gs pos="10417">
                            <a:srgbClr val="FFFFFF"/>
                          </a:gs>
                        </a:gsLst>
                        <a:lin ang="5400000" scaled="0"/>
                      </a:gradFill>
                    </a:rPr>
                    <a:t>sites</a:t>
                  </a:r>
                </a:p>
              </p:txBody>
            </p:sp>
            <p:sp>
              <p:nvSpPr>
                <p:cNvPr id="51" name="Rectangle 78"/>
                <p:cNvSpPr/>
                <p:nvPr/>
              </p:nvSpPr>
              <p:spPr bwMode="auto">
                <a:xfrm>
                  <a:off x="6836426" y="3686986"/>
                  <a:ext cx="627578" cy="627586"/>
                </a:xfrm>
                <a:prstGeom prst="rect">
                  <a:avLst/>
                </a:prstGeom>
                <a:solidFill>
                  <a:srgbClr val="FFFFFF">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87773" tIns="43885" rIns="87773" bIns="43885" numCol="1" spcCol="0" rtlCol="0" fromWordArt="0" anchor="t" anchorCtr="0" forceAA="0" compatLnSpc="1">
                  <a:prstTxWarp prst="textNoShape">
                    <a:avLst/>
                  </a:prstTxWarp>
                  <a:noAutofit/>
                </a:bodyPr>
                <a:lstStyle/>
                <a:p>
                  <a:pPr defTabSz="877144" fontAlgn="base">
                    <a:lnSpc>
                      <a:spcPct val="90000"/>
                    </a:lnSpc>
                    <a:spcBef>
                      <a:spcPct val="0"/>
                    </a:spcBef>
                    <a:spcAft>
                      <a:spcPct val="0"/>
                    </a:spcAft>
                    <a:defRPr/>
                  </a:pPr>
                  <a:r>
                    <a:rPr lang="en-US" sz="980" kern="0" spc="-28" dirty="0">
                      <a:gradFill>
                        <a:gsLst>
                          <a:gs pos="1250">
                            <a:srgbClr val="FFFFFF"/>
                          </a:gs>
                          <a:gs pos="10417">
                            <a:srgbClr val="FFFFFF"/>
                          </a:gs>
                        </a:gsLst>
                        <a:lin ang="5400000" scaled="0"/>
                      </a:gradFill>
                    </a:rPr>
                    <a:t>VM </a:t>
                  </a:r>
                </a:p>
              </p:txBody>
            </p:sp>
            <p:sp>
              <p:nvSpPr>
                <p:cNvPr id="52" name="Rectangle 81"/>
                <p:cNvSpPr/>
                <p:nvPr/>
              </p:nvSpPr>
              <p:spPr bwMode="auto">
                <a:xfrm>
                  <a:off x="7510361" y="3686986"/>
                  <a:ext cx="627578" cy="627586"/>
                </a:xfrm>
                <a:prstGeom prst="rect">
                  <a:avLst/>
                </a:prstGeom>
                <a:solidFill>
                  <a:srgbClr val="FFFFFF">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87773" tIns="43885" rIns="87773" bIns="43885" numCol="1" spcCol="0" rtlCol="0" fromWordArt="0" anchor="t" anchorCtr="0" forceAA="0" compatLnSpc="1">
                  <a:prstTxWarp prst="textNoShape">
                    <a:avLst/>
                  </a:prstTxWarp>
                  <a:noAutofit/>
                </a:bodyPr>
                <a:lstStyle/>
                <a:p>
                  <a:pPr defTabSz="877144" fontAlgn="base">
                    <a:lnSpc>
                      <a:spcPct val="90000"/>
                    </a:lnSpc>
                    <a:spcBef>
                      <a:spcPct val="0"/>
                    </a:spcBef>
                    <a:spcAft>
                      <a:spcPct val="0"/>
                    </a:spcAft>
                    <a:defRPr/>
                  </a:pPr>
                  <a:r>
                    <a:rPr lang="en-US" sz="980" kern="0" spc="-28" dirty="0">
                      <a:gradFill>
                        <a:gsLst>
                          <a:gs pos="1250">
                            <a:srgbClr val="FFFFFF"/>
                          </a:gs>
                          <a:gs pos="10417">
                            <a:srgbClr val="FFFFFF"/>
                          </a:gs>
                        </a:gsLst>
                        <a:lin ang="5400000" scaled="0"/>
                      </a:gradFill>
                    </a:rPr>
                    <a:t>Service </a:t>
                  </a:r>
                  <a:br>
                    <a:rPr lang="en-US" sz="980" kern="0" spc="-28" dirty="0">
                      <a:gradFill>
                        <a:gsLst>
                          <a:gs pos="1250">
                            <a:srgbClr val="FFFFFF"/>
                          </a:gs>
                          <a:gs pos="10417">
                            <a:srgbClr val="FFFFFF"/>
                          </a:gs>
                        </a:gsLst>
                        <a:lin ang="5400000" scaled="0"/>
                      </a:gradFill>
                    </a:rPr>
                  </a:br>
                  <a:r>
                    <a:rPr lang="en-US" sz="980" kern="0" spc="-28" dirty="0">
                      <a:gradFill>
                        <a:gsLst>
                          <a:gs pos="1250">
                            <a:srgbClr val="FFFFFF"/>
                          </a:gs>
                          <a:gs pos="10417">
                            <a:srgbClr val="FFFFFF"/>
                          </a:gs>
                        </a:gsLst>
                        <a:lin ang="5400000" scaled="0"/>
                      </a:gradFill>
                    </a:rPr>
                    <a:t>bus</a:t>
                  </a:r>
                </a:p>
              </p:txBody>
            </p:sp>
          </p:grpSp>
        </p:grpSp>
        <p:grpSp>
          <p:nvGrpSpPr>
            <p:cNvPr id="25" name="Group 6"/>
            <p:cNvGrpSpPr/>
            <p:nvPr/>
          </p:nvGrpSpPr>
          <p:grpSpPr>
            <a:xfrm>
              <a:off x="7775997" y="4005304"/>
              <a:ext cx="327148" cy="284795"/>
              <a:chOff x="6598260" y="4590950"/>
              <a:chExt cx="349473" cy="304226"/>
            </a:xfrm>
          </p:grpSpPr>
          <p:sp>
            <p:nvSpPr>
              <p:cNvPr id="28" name="Freeform 5"/>
              <p:cNvSpPr>
                <a:spLocks/>
              </p:cNvSpPr>
              <p:nvPr/>
            </p:nvSpPr>
            <p:spPr bwMode="auto">
              <a:xfrm>
                <a:off x="6691674" y="470043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29" name="Freeform 6"/>
              <p:cNvSpPr>
                <a:spLocks/>
              </p:cNvSpPr>
              <p:nvPr/>
            </p:nvSpPr>
            <p:spPr bwMode="auto">
              <a:xfrm>
                <a:off x="6691674" y="469654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0" name="Freeform 7"/>
              <p:cNvSpPr>
                <a:spLocks/>
              </p:cNvSpPr>
              <p:nvPr/>
            </p:nvSpPr>
            <p:spPr bwMode="auto">
              <a:xfrm>
                <a:off x="6833929" y="468529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1" name="Freeform 8"/>
              <p:cNvSpPr>
                <a:spLocks/>
              </p:cNvSpPr>
              <p:nvPr/>
            </p:nvSpPr>
            <p:spPr bwMode="auto">
              <a:xfrm>
                <a:off x="6738144" y="4641582"/>
                <a:ext cx="0" cy="43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2" name="Freeform 9"/>
              <p:cNvSpPr>
                <a:spLocks/>
              </p:cNvSpPr>
              <p:nvPr/>
            </p:nvSpPr>
            <p:spPr bwMode="auto">
              <a:xfrm>
                <a:off x="6770389" y="4717747"/>
                <a:ext cx="0" cy="433"/>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3" name="Freeform 10"/>
              <p:cNvSpPr>
                <a:spLocks noEditPoints="1"/>
              </p:cNvSpPr>
              <p:nvPr/>
            </p:nvSpPr>
            <p:spPr bwMode="auto">
              <a:xfrm>
                <a:off x="6645204" y="4590950"/>
                <a:ext cx="245627" cy="152329"/>
              </a:xfrm>
              <a:custGeom>
                <a:avLst/>
                <a:gdLst>
                  <a:gd name="T0" fmla="*/ 804 w 913"/>
                  <a:gd name="T1" fmla="*/ 236 h 620"/>
                  <a:gd name="T2" fmla="*/ 765 w 913"/>
                  <a:gd name="T3" fmla="*/ 243 h 620"/>
                  <a:gd name="T4" fmla="*/ 763 w 913"/>
                  <a:gd name="T5" fmla="*/ 193 h 620"/>
                  <a:gd name="T6" fmla="*/ 522 w 913"/>
                  <a:gd name="T7" fmla="*/ 18 h 620"/>
                  <a:gd name="T8" fmla="*/ 368 w 913"/>
                  <a:gd name="T9" fmla="*/ 129 h 620"/>
                  <a:gd name="T10" fmla="*/ 368 w 913"/>
                  <a:gd name="T11" fmla="*/ 129 h 620"/>
                  <a:gd name="T12" fmla="*/ 276 w 913"/>
                  <a:gd name="T13" fmla="*/ 82 h 620"/>
                  <a:gd name="T14" fmla="*/ 130 w 913"/>
                  <a:gd name="T15" fmla="*/ 206 h 620"/>
                  <a:gd name="T16" fmla="*/ 138 w 913"/>
                  <a:gd name="T17" fmla="*/ 262 h 620"/>
                  <a:gd name="T18" fmla="*/ 138 w 913"/>
                  <a:gd name="T19" fmla="*/ 262 h 620"/>
                  <a:gd name="T20" fmla="*/ 22 w 913"/>
                  <a:gd name="T21" fmla="*/ 333 h 620"/>
                  <a:gd name="T22" fmla="*/ 86 w 913"/>
                  <a:gd name="T23" fmla="*/ 476 h 620"/>
                  <a:gd name="T24" fmla="*/ 174 w 913"/>
                  <a:gd name="T25" fmla="*/ 472 h 620"/>
                  <a:gd name="T26" fmla="*/ 174 w 913"/>
                  <a:gd name="T27" fmla="*/ 472 h 620"/>
                  <a:gd name="T28" fmla="*/ 188 w 913"/>
                  <a:gd name="T29" fmla="*/ 512 h 620"/>
                  <a:gd name="T30" fmla="*/ 398 w 913"/>
                  <a:gd name="T31" fmla="*/ 582 h 620"/>
                  <a:gd name="T32" fmla="*/ 452 w 913"/>
                  <a:gd name="T33" fmla="*/ 538 h 620"/>
                  <a:gd name="T34" fmla="*/ 567 w 913"/>
                  <a:gd name="T35" fmla="*/ 576 h 620"/>
                  <a:gd name="T36" fmla="*/ 637 w 913"/>
                  <a:gd name="T37" fmla="*/ 500 h 620"/>
                  <a:gd name="T38" fmla="*/ 731 w 913"/>
                  <a:gd name="T39" fmla="*/ 506 h 620"/>
                  <a:gd name="T40" fmla="*/ 768 w 913"/>
                  <a:gd name="T41" fmla="*/ 448 h 620"/>
                  <a:gd name="T42" fmla="*/ 804 w 913"/>
                  <a:gd name="T43" fmla="*/ 454 h 620"/>
                  <a:gd name="T44" fmla="*/ 913 w 913"/>
                  <a:gd name="T45" fmla="*/ 346 h 620"/>
                  <a:gd name="T46" fmla="*/ 804 w 913"/>
                  <a:gd name="T47" fmla="*/ 236 h 620"/>
                  <a:gd name="T48" fmla="*/ 172 w 913"/>
                  <a:gd name="T49" fmla="*/ 446 h 620"/>
                  <a:gd name="T50" fmla="*/ 172 w 913"/>
                  <a:gd name="T51" fmla="*/ 446 h 620"/>
                  <a:gd name="T52" fmla="*/ 172 w 913"/>
                  <a:gd name="T53" fmla="*/ 446 h 620"/>
                  <a:gd name="T54" fmla="*/ 172 w 913"/>
                  <a:gd name="T55" fmla="*/ 446 h 620"/>
                  <a:gd name="T56" fmla="*/ 172 w 913"/>
                  <a:gd name="T57" fmla="*/ 431 h 620"/>
                  <a:gd name="T58" fmla="*/ 172 w 913"/>
                  <a:gd name="T59" fmla="*/ 431 h 620"/>
                  <a:gd name="T60" fmla="*/ 172 w 913"/>
                  <a:gd name="T61" fmla="*/ 431 h 620"/>
                  <a:gd name="T62" fmla="*/ 172 w 913"/>
                  <a:gd name="T63" fmla="*/ 431 h 620"/>
                  <a:gd name="T64" fmla="*/ 345 w 913"/>
                  <a:gd name="T65" fmla="*/ 208 h 620"/>
                  <a:gd name="T66" fmla="*/ 345 w 913"/>
                  <a:gd name="T67" fmla="*/ 207 h 620"/>
                  <a:gd name="T68" fmla="*/ 345 w 913"/>
                  <a:gd name="T69" fmla="*/ 207 h 620"/>
                  <a:gd name="T70" fmla="*/ 345 w 913"/>
                  <a:gd name="T71" fmla="*/ 208 h 620"/>
                  <a:gd name="T72" fmla="*/ 465 w 913"/>
                  <a:gd name="T73" fmla="*/ 518 h 620"/>
                  <a:gd name="T74" fmla="*/ 465 w 913"/>
                  <a:gd name="T75" fmla="*/ 518 h 620"/>
                  <a:gd name="T76" fmla="*/ 465 w 913"/>
                  <a:gd name="T77" fmla="*/ 517 h 620"/>
                  <a:gd name="T78" fmla="*/ 465 w 913"/>
                  <a:gd name="T79" fmla="*/ 518 h 620"/>
                  <a:gd name="T80" fmla="*/ 702 w 913"/>
                  <a:gd name="T81" fmla="*/ 385 h 620"/>
                  <a:gd name="T82" fmla="*/ 702 w 913"/>
                  <a:gd name="T83" fmla="*/ 385 h 620"/>
                  <a:gd name="T84" fmla="*/ 702 w 913"/>
                  <a:gd name="T85" fmla="*/ 385 h 620"/>
                  <a:gd name="T86" fmla="*/ 702 w 913"/>
                  <a:gd name="T87" fmla="*/ 3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0">
                    <a:moveTo>
                      <a:pt x="804" y="236"/>
                    </a:moveTo>
                    <a:cubicBezTo>
                      <a:pt x="791" y="236"/>
                      <a:pt x="778" y="239"/>
                      <a:pt x="765" y="243"/>
                    </a:cubicBezTo>
                    <a:cubicBezTo>
                      <a:pt x="767" y="227"/>
                      <a:pt x="766" y="210"/>
                      <a:pt x="763" y="193"/>
                    </a:cubicBezTo>
                    <a:cubicBezTo>
                      <a:pt x="745" y="78"/>
                      <a:pt x="637" y="0"/>
                      <a:pt x="522" y="18"/>
                    </a:cubicBezTo>
                    <a:cubicBezTo>
                      <a:pt x="453" y="29"/>
                      <a:pt x="398" y="72"/>
                      <a:pt x="368" y="129"/>
                    </a:cubicBezTo>
                    <a:cubicBezTo>
                      <a:pt x="368" y="129"/>
                      <a:pt x="368" y="129"/>
                      <a:pt x="368" y="129"/>
                    </a:cubicBezTo>
                    <a:cubicBezTo>
                      <a:pt x="346" y="102"/>
                      <a:pt x="314" y="85"/>
                      <a:pt x="276" y="82"/>
                    </a:cubicBezTo>
                    <a:cubicBezTo>
                      <a:pt x="202" y="75"/>
                      <a:pt x="136" y="131"/>
                      <a:pt x="130" y="206"/>
                    </a:cubicBezTo>
                    <a:cubicBezTo>
                      <a:pt x="128" y="225"/>
                      <a:pt x="131" y="245"/>
                      <a:pt x="138" y="262"/>
                    </a:cubicBezTo>
                    <a:cubicBezTo>
                      <a:pt x="138" y="262"/>
                      <a:pt x="138" y="262"/>
                      <a:pt x="138" y="262"/>
                    </a:cubicBezTo>
                    <a:cubicBezTo>
                      <a:pt x="89" y="257"/>
                      <a:pt x="41" y="285"/>
                      <a:pt x="22" y="333"/>
                    </a:cubicBezTo>
                    <a:cubicBezTo>
                      <a:pt x="0" y="390"/>
                      <a:pt x="29" y="454"/>
                      <a:pt x="86" y="476"/>
                    </a:cubicBezTo>
                    <a:cubicBezTo>
                      <a:pt x="116" y="488"/>
                      <a:pt x="148" y="485"/>
                      <a:pt x="174" y="472"/>
                    </a:cubicBezTo>
                    <a:cubicBezTo>
                      <a:pt x="174" y="472"/>
                      <a:pt x="174" y="472"/>
                      <a:pt x="174" y="472"/>
                    </a:cubicBezTo>
                    <a:cubicBezTo>
                      <a:pt x="177" y="485"/>
                      <a:pt x="182" y="499"/>
                      <a:pt x="188" y="512"/>
                    </a:cubicBezTo>
                    <a:cubicBezTo>
                      <a:pt x="227" y="589"/>
                      <a:pt x="321" y="620"/>
                      <a:pt x="398" y="582"/>
                    </a:cubicBezTo>
                    <a:cubicBezTo>
                      <a:pt x="420" y="571"/>
                      <a:pt x="438" y="556"/>
                      <a:pt x="452" y="538"/>
                    </a:cubicBezTo>
                    <a:cubicBezTo>
                      <a:pt x="477" y="573"/>
                      <a:pt x="523" y="590"/>
                      <a:pt x="567" y="576"/>
                    </a:cubicBezTo>
                    <a:cubicBezTo>
                      <a:pt x="604" y="565"/>
                      <a:pt x="629" y="535"/>
                      <a:pt x="637" y="500"/>
                    </a:cubicBezTo>
                    <a:cubicBezTo>
                      <a:pt x="663" y="521"/>
                      <a:pt x="701" y="525"/>
                      <a:pt x="731" y="506"/>
                    </a:cubicBezTo>
                    <a:cubicBezTo>
                      <a:pt x="752" y="493"/>
                      <a:pt x="765" y="471"/>
                      <a:pt x="768" y="448"/>
                    </a:cubicBezTo>
                    <a:cubicBezTo>
                      <a:pt x="779" y="452"/>
                      <a:pt x="791" y="454"/>
                      <a:pt x="804" y="454"/>
                    </a:cubicBezTo>
                    <a:cubicBezTo>
                      <a:pt x="864" y="455"/>
                      <a:pt x="913" y="406"/>
                      <a:pt x="913" y="346"/>
                    </a:cubicBezTo>
                    <a:cubicBezTo>
                      <a:pt x="913" y="285"/>
                      <a:pt x="864" y="236"/>
                      <a:pt x="804" y="236"/>
                    </a:cubicBezTo>
                    <a:close/>
                    <a:moveTo>
                      <a:pt x="172" y="446"/>
                    </a:moveTo>
                    <a:cubicBezTo>
                      <a:pt x="172" y="446"/>
                      <a:pt x="172" y="446"/>
                      <a:pt x="172" y="446"/>
                    </a:cubicBezTo>
                    <a:cubicBezTo>
                      <a:pt x="172" y="446"/>
                      <a:pt x="172" y="446"/>
                      <a:pt x="172" y="446"/>
                    </a:cubicBezTo>
                    <a:cubicBezTo>
                      <a:pt x="172" y="446"/>
                      <a:pt x="172" y="446"/>
                      <a:pt x="172" y="446"/>
                    </a:cubicBezTo>
                    <a:close/>
                    <a:moveTo>
                      <a:pt x="172" y="431"/>
                    </a:moveTo>
                    <a:cubicBezTo>
                      <a:pt x="172" y="431"/>
                      <a:pt x="172" y="431"/>
                      <a:pt x="172" y="431"/>
                    </a:cubicBezTo>
                    <a:cubicBezTo>
                      <a:pt x="172" y="431"/>
                      <a:pt x="172" y="431"/>
                      <a:pt x="172" y="431"/>
                    </a:cubicBezTo>
                    <a:cubicBezTo>
                      <a:pt x="172" y="431"/>
                      <a:pt x="172" y="431"/>
                      <a:pt x="172" y="431"/>
                    </a:cubicBezTo>
                    <a:close/>
                    <a:moveTo>
                      <a:pt x="345" y="208"/>
                    </a:moveTo>
                    <a:cubicBezTo>
                      <a:pt x="345" y="208"/>
                      <a:pt x="345" y="208"/>
                      <a:pt x="345" y="207"/>
                    </a:cubicBezTo>
                    <a:cubicBezTo>
                      <a:pt x="345" y="207"/>
                      <a:pt x="345" y="207"/>
                      <a:pt x="345" y="207"/>
                    </a:cubicBezTo>
                    <a:cubicBezTo>
                      <a:pt x="345" y="208"/>
                      <a:pt x="345" y="208"/>
                      <a:pt x="345" y="208"/>
                    </a:cubicBezTo>
                    <a:close/>
                    <a:moveTo>
                      <a:pt x="465" y="518"/>
                    </a:moveTo>
                    <a:cubicBezTo>
                      <a:pt x="465" y="518"/>
                      <a:pt x="465" y="518"/>
                      <a:pt x="465" y="518"/>
                    </a:cubicBezTo>
                    <a:cubicBezTo>
                      <a:pt x="465" y="518"/>
                      <a:pt x="465" y="518"/>
                      <a:pt x="465" y="517"/>
                    </a:cubicBezTo>
                    <a:cubicBezTo>
                      <a:pt x="465" y="517"/>
                      <a:pt x="465" y="518"/>
                      <a:pt x="465" y="518"/>
                    </a:cubicBezTo>
                    <a:close/>
                    <a:moveTo>
                      <a:pt x="702" y="385"/>
                    </a:moveTo>
                    <a:cubicBezTo>
                      <a:pt x="702" y="385"/>
                      <a:pt x="702" y="385"/>
                      <a:pt x="702" y="385"/>
                    </a:cubicBezTo>
                    <a:cubicBezTo>
                      <a:pt x="702" y="385"/>
                      <a:pt x="702" y="385"/>
                      <a:pt x="702" y="385"/>
                    </a:cubicBezTo>
                    <a:cubicBezTo>
                      <a:pt x="702" y="385"/>
                      <a:pt x="702" y="385"/>
                      <a:pt x="702" y="385"/>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4" name="Freeform 11"/>
              <p:cNvSpPr>
                <a:spLocks noEditPoints="1"/>
              </p:cNvSpPr>
              <p:nvPr/>
            </p:nvSpPr>
            <p:spPr bwMode="auto">
              <a:xfrm>
                <a:off x="6598260" y="4706928"/>
                <a:ext cx="41728" cy="90013"/>
              </a:xfrm>
              <a:custGeom>
                <a:avLst/>
                <a:gdLst>
                  <a:gd name="T0" fmla="*/ 79 w 155"/>
                  <a:gd name="T1" fmla="*/ 328 h 368"/>
                  <a:gd name="T2" fmla="*/ 114 w 155"/>
                  <a:gd name="T3" fmla="*/ 293 h 368"/>
                  <a:gd name="T4" fmla="*/ 113 w 155"/>
                  <a:gd name="T5" fmla="*/ 74 h 368"/>
                  <a:gd name="T6" fmla="*/ 154 w 155"/>
                  <a:gd name="T7" fmla="*/ 116 h 368"/>
                  <a:gd name="T8" fmla="*/ 154 w 155"/>
                  <a:gd name="T9" fmla="*/ 0 h 368"/>
                  <a:gd name="T10" fmla="*/ 38 w 155"/>
                  <a:gd name="T11" fmla="*/ 0 h 368"/>
                  <a:gd name="T12" fmla="*/ 78 w 155"/>
                  <a:gd name="T13" fmla="*/ 40 h 368"/>
                  <a:gd name="T14" fmla="*/ 79 w 155"/>
                  <a:gd name="T15" fmla="*/ 328 h 368"/>
                  <a:gd name="T16" fmla="*/ 39 w 155"/>
                  <a:gd name="T17" fmla="*/ 368 h 368"/>
                  <a:gd name="T18" fmla="*/ 155 w 155"/>
                  <a:gd name="T19" fmla="*/ 368 h 368"/>
                  <a:gd name="T20" fmla="*/ 155 w 155"/>
                  <a:gd name="T21" fmla="*/ 253 h 368"/>
                  <a:gd name="T22" fmla="*/ 39 w 155"/>
                  <a:gd name="T23"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9" y="328"/>
                    </a:moveTo>
                    <a:cubicBezTo>
                      <a:pt x="114" y="293"/>
                      <a:pt x="114" y="293"/>
                      <a:pt x="114" y="293"/>
                    </a:cubicBezTo>
                    <a:cubicBezTo>
                      <a:pt x="54" y="233"/>
                      <a:pt x="53" y="135"/>
                      <a:pt x="113" y="74"/>
                    </a:cubicBezTo>
                    <a:cubicBezTo>
                      <a:pt x="154" y="116"/>
                      <a:pt x="154" y="116"/>
                      <a:pt x="154" y="116"/>
                    </a:cubicBezTo>
                    <a:cubicBezTo>
                      <a:pt x="154" y="0"/>
                      <a:pt x="154" y="0"/>
                      <a:pt x="154" y="0"/>
                    </a:cubicBezTo>
                    <a:cubicBezTo>
                      <a:pt x="38" y="0"/>
                      <a:pt x="38" y="0"/>
                      <a:pt x="38" y="0"/>
                    </a:cubicBezTo>
                    <a:cubicBezTo>
                      <a:pt x="78" y="40"/>
                      <a:pt x="78" y="40"/>
                      <a:pt x="78" y="40"/>
                    </a:cubicBezTo>
                    <a:cubicBezTo>
                      <a:pt x="0" y="120"/>
                      <a:pt x="0" y="248"/>
                      <a:pt x="79" y="328"/>
                    </a:cubicBezTo>
                    <a:close/>
                    <a:moveTo>
                      <a:pt x="39" y="368"/>
                    </a:moveTo>
                    <a:cubicBezTo>
                      <a:pt x="155" y="368"/>
                      <a:pt x="155" y="368"/>
                      <a:pt x="155" y="368"/>
                    </a:cubicBezTo>
                    <a:cubicBezTo>
                      <a:pt x="155" y="253"/>
                      <a:pt x="155" y="253"/>
                      <a:pt x="155" y="253"/>
                    </a:cubicBezTo>
                    <a:lnTo>
                      <a:pt x="39" y="368"/>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5" name="Freeform 12"/>
              <p:cNvSpPr>
                <a:spLocks/>
              </p:cNvSpPr>
              <p:nvPr/>
            </p:nvSpPr>
            <p:spPr bwMode="auto">
              <a:xfrm>
                <a:off x="6673181" y="4822906"/>
                <a:ext cx="35564" cy="6059"/>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6" name="Freeform 13"/>
              <p:cNvSpPr>
                <a:spLocks/>
              </p:cNvSpPr>
              <p:nvPr/>
            </p:nvSpPr>
            <p:spPr bwMode="auto">
              <a:xfrm>
                <a:off x="6649946" y="4836754"/>
                <a:ext cx="58799" cy="6491"/>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7" name="Freeform 14"/>
              <p:cNvSpPr>
                <a:spLocks/>
              </p:cNvSpPr>
              <p:nvPr/>
            </p:nvSpPr>
            <p:spPr bwMode="auto">
              <a:xfrm>
                <a:off x="6649946" y="4851035"/>
                <a:ext cx="58799" cy="6491"/>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8" name="Freeform 15"/>
              <p:cNvSpPr>
                <a:spLocks/>
              </p:cNvSpPr>
              <p:nvPr/>
            </p:nvSpPr>
            <p:spPr bwMode="auto">
              <a:xfrm>
                <a:off x="6649946" y="4865316"/>
                <a:ext cx="58799" cy="6059"/>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39" name="Freeform 16"/>
              <p:cNvSpPr>
                <a:spLocks noEditPoints="1"/>
              </p:cNvSpPr>
              <p:nvPr/>
            </p:nvSpPr>
            <p:spPr bwMode="auto">
              <a:xfrm>
                <a:off x="6631927" y="4795210"/>
                <a:ext cx="95785" cy="99966"/>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0" name="Freeform 17"/>
              <p:cNvSpPr>
                <a:spLocks/>
              </p:cNvSpPr>
              <p:nvPr/>
            </p:nvSpPr>
            <p:spPr bwMode="auto">
              <a:xfrm>
                <a:off x="6839619" y="4822906"/>
                <a:ext cx="36038" cy="6059"/>
              </a:xfrm>
              <a:custGeom>
                <a:avLst/>
                <a:gdLst>
                  <a:gd name="T0" fmla="*/ 120 w 133"/>
                  <a:gd name="T1" fmla="*/ 0 h 25"/>
                  <a:gd name="T2" fmla="*/ 12 w 133"/>
                  <a:gd name="T3" fmla="*/ 0 h 25"/>
                  <a:gd name="T4" fmla="*/ 0 w 133"/>
                  <a:gd name="T5" fmla="*/ 13 h 25"/>
                  <a:gd name="T6" fmla="*/ 12 w 133"/>
                  <a:gd name="T7" fmla="*/ 25 h 25"/>
                  <a:gd name="T8" fmla="*/ 120 w 133"/>
                  <a:gd name="T9" fmla="*/ 25 h 25"/>
                  <a:gd name="T10" fmla="*/ 133 w 133"/>
                  <a:gd name="T11" fmla="*/ 13 h 25"/>
                  <a:gd name="T12" fmla="*/ 120 w 133"/>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3" h="25">
                    <a:moveTo>
                      <a:pt x="120" y="0"/>
                    </a:moveTo>
                    <a:cubicBezTo>
                      <a:pt x="12" y="0"/>
                      <a:pt x="12" y="0"/>
                      <a:pt x="12" y="0"/>
                    </a:cubicBezTo>
                    <a:cubicBezTo>
                      <a:pt x="6" y="0"/>
                      <a:pt x="0" y="6"/>
                      <a:pt x="0" y="13"/>
                    </a:cubicBezTo>
                    <a:cubicBezTo>
                      <a:pt x="0" y="20"/>
                      <a:pt x="6" y="25"/>
                      <a:pt x="12" y="25"/>
                    </a:cubicBezTo>
                    <a:cubicBezTo>
                      <a:pt x="120" y="25"/>
                      <a:pt x="120" y="25"/>
                      <a:pt x="120" y="25"/>
                    </a:cubicBezTo>
                    <a:cubicBezTo>
                      <a:pt x="127" y="25"/>
                      <a:pt x="133" y="20"/>
                      <a:pt x="133" y="13"/>
                    </a:cubicBezTo>
                    <a:cubicBezTo>
                      <a:pt x="133" y="6"/>
                      <a:pt x="127" y="0"/>
                      <a:pt x="12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1" name="Freeform 18"/>
              <p:cNvSpPr>
                <a:spLocks/>
              </p:cNvSpPr>
              <p:nvPr/>
            </p:nvSpPr>
            <p:spPr bwMode="auto">
              <a:xfrm>
                <a:off x="6816858" y="4836754"/>
                <a:ext cx="58799" cy="6491"/>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2" name="Freeform 19"/>
              <p:cNvSpPr>
                <a:spLocks/>
              </p:cNvSpPr>
              <p:nvPr/>
            </p:nvSpPr>
            <p:spPr bwMode="auto">
              <a:xfrm>
                <a:off x="6816858" y="4851035"/>
                <a:ext cx="58799" cy="6491"/>
              </a:xfrm>
              <a:custGeom>
                <a:avLst/>
                <a:gdLst>
                  <a:gd name="T0" fmla="*/ 205 w 218"/>
                  <a:gd name="T1" fmla="*/ 0 h 25"/>
                  <a:gd name="T2" fmla="*/ 12 w 218"/>
                  <a:gd name="T3" fmla="*/ 0 h 25"/>
                  <a:gd name="T4" fmla="*/ 0 w 218"/>
                  <a:gd name="T5" fmla="*/ 12 h 25"/>
                  <a:gd name="T6" fmla="*/ 12 w 218"/>
                  <a:gd name="T7" fmla="*/ 25 h 25"/>
                  <a:gd name="T8" fmla="*/ 205 w 218"/>
                  <a:gd name="T9" fmla="*/ 25 h 25"/>
                  <a:gd name="T10" fmla="*/ 218 w 218"/>
                  <a:gd name="T11" fmla="*/ 12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5"/>
                      <a:pt x="0" y="12"/>
                    </a:cubicBezTo>
                    <a:cubicBezTo>
                      <a:pt x="0" y="19"/>
                      <a:pt x="5" y="25"/>
                      <a:pt x="12" y="25"/>
                    </a:cubicBezTo>
                    <a:cubicBezTo>
                      <a:pt x="205" y="25"/>
                      <a:pt x="205" y="25"/>
                      <a:pt x="205" y="25"/>
                    </a:cubicBezTo>
                    <a:cubicBezTo>
                      <a:pt x="212" y="25"/>
                      <a:pt x="218" y="19"/>
                      <a:pt x="218" y="12"/>
                    </a:cubicBezTo>
                    <a:cubicBezTo>
                      <a:pt x="218" y="5"/>
                      <a:pt x="212" y="0"/>
                      <a:pt x="205"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3" name="Freeform 20"/>
              <p:cNvSpPr>
                <a:spLocks/>
              </p:cNvSpPr>
              <p:nvPr/>
            </p:nvSpPr>
            <p:spPr bwMode="auto">
              <a:xfrm>
                <a:off x="6816858" y="4865316"/>
                <a:ext cx="58799" cy="6059"/>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4" name="Freeform 21"/>
              <p:cNvSpPr>
                <a:spLocks noEditPoints="1"/>
              </p:cNvSpPr>
              <p:nvPr/>
            </p:nvSpPr>
            <p:spPr bwMode="auto">
              <a:xfrm>
                <a:off x="6798366" y="4795210"/>
                <a:ext cx="95785" cy="99966"/>
              </a:xfrm>
              <a:custGeom>
                <a:avLst/>
                <a:gdLst>
                  <a:gd name="T0" fmla="*/ 333 w 357"/>
                  <a:gd name="T1" fmla="*/ 407 h 407"/>
                  <a:gd name="T2" fmla="*/ 357 w 357"/>
                  <a:gd name="T3" fmla="*/ 407 h 407"/>
                  <a:gd name="T4" fmla="*/ 357 w 357"/>
                  <a:gd name="T5" fmla="*/ 39 h 407"/>
                  <a:gd name="T6" fmla="*/ 316 w 357"/>
                  <a:gd name="T7" fmla="*/ 0 h 407"/>
                  <a:gd name="T8" fmla="*/ 116 w 357"/>
                  <a:gd name="T9" fmla="*/ 0 h 407"/>
                  <a:gd name="T10" fmla="*/ 0 w 357"/>
                  <a:gd name="T11" fmla="*/ 103 h 407"/>
                  <a:gd name="T12" fmla="*/ 0 w 357"/>
                  <a:gd name="T13" fmla="*/ 367 h 407"/>
                  <a:gd name="T14" fmla="*/ 41 w 357"/>
                  <a:gd name="T15" fmla="*/ 407 h 407"/>
                  <a:gd name="T16" fmla="*/ 333 w 357"/>
                  <a:gd name="T17" fmla="*/ 407 h 407"/>
                  <a:gd name="T18" fmla="*/ 52 w 357"/>
                  <a:gd name="T19" fmla="*/ 384 h 407"/>
                  <a:gd name="T20" fmla="*/ 25 w 357"/>
                  <a:gd name="T21" fmla="*/ 356 h 407"/>
                  <a:gd name="T22" fmla="*/ 25 w 357"/>
                  <a:gd name="T23" fmla="*/ 118 h 407"/>
                  <a:gd name="T24" fmla="*/ 96 w 357"/>
                  <a:gd name="T25" fmla="*/ 118 h 407"/>
                  <a:gd name="T26" fmla="*/ 119 w 357"/>
                  <a:gd name="T27" fmla="*/ 113 h 407"/>
                  <a:gd name="T28" fmla="*/ 129 w 357"/>
                  <a:gd name="T29" fmla="*/ 92 h 407"/>
                  <a:gd name="T30" fmla="*/ 129 w 357"/>
                  <a:gd name="T31" fmla="*/ 25 h 407"/>
                  <a:gd name="T32" fmla="*/ 305 w 357"/>
                  <a:gd name="T33" fmla="*/ 25 h 407"/>
                  <a:gd name="T34" fmla="*/ 333 w 357"/>
                  <a:gd name="T35" fmla="*/ 53 h 407"/>
                  <a:gd name="T36" fmla="*/ 333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3" y="407"/>
                    </a:moveTo>
                    <a:cubicBezTo>
                      <a:pt x="357" y="407"/>
                      <a:pt x="357" y="407"/>
                      <a:pt x="357" y="407"/>
                    </a:cubicBezTo>
                    <a:cubicBezTo>
                      <a:pt x="357" y="39"/>
                      <a:pt x="357" y="39"/>
                      <a:pt x="357" y="39"/>
                    </a:cubicBezTo>
                    <a:cubicBezTo>
                      <a:pt x="357" y="16"/>
                      <a:pt x="334" y="0"/>
                      <a:pt x="316" y="0"/>
                    </a:cubicBezTo>
                    <a:cubicBezTo>
                      <a:pt x="116" y="0"/>
                      <a:pt x="116" y="0"/>
                      <a:pt x="116" y="0"/>
                    </a:cubicBezTo>
                    <a:cubicBezTo>
                      <a:pt x="86" y="26"/>
                      <a:pt x="47" y="64"/>
                      <a:pt x="0" y="103"/>
                    </a:cubicBezTo>
                    <a:cubicBezTo>
                      <a:pt x="0" y="367"/>
                      <a:pt x="0" y="367"/>
                      <a:pt x="0" y="367"/>
                    </a:cubicBezTo>
                    <a:cubicBezTo>
                      <a:pt x="0" y="392"/>
                      <a:pt x="22" y="407"/>
                      <a:pt x="41" y="407"/>
                    </a:cubicBezTo>
                    <a:cubicBezTo>
                      <a:pt x="333" y="407"/>
                      <a:pt x="333" y="407"/>
                      <a:pt x="333" y="407"/>
                    </a:cubicBezTo>
                    <a:close/>
                    <a:moveTo>
                      <a:pt x="52" y="384"/>
                    </a:moveTo>
                    <a:cubicBezTo>
                      <a:pt x="37" y="384"/>
                      <a:pt x="25" y="372"/>
                      <a:pt x="25" y="356"/>
                    </a:cubicBezTo>
                    <a:cubicBezTo>
                      <a:pt x="25" y="118"/>
                      <a:pt x="25" y="118"/>
                      <a:pt x="25" y="118"/>
                    </a:cubicBezTo>
                    <a:cubicBezTo>
                      <a:pt x="96" y="118"/>
                      <a:pt x="96" y="118"/>
                      <a:pt x="96" y="118"/>
                    </a:cubicBezTo>
                    <a:cubicBezTo>
                      <a:pt x="96" y="118"/>
                      <a:pt x="112" y="117"/>
                      <a:pt x="119" y="113"/>
                    </a:cubicBezTo>
                    <a:cubicBezTo>
                      <a:pt x="130" y="106"/>
                      <a:pt x="129" y="92"/>
                      <a:pt x="129" y="92"/>
                    </a:cubicBezTo>
                    <a:cubicBezTo>
                      <a:pt x="129" y="25"/>
                      <a:pt x="129" y="25"/>
                      <a:pt x="129" y="25"/>
                    </a:cubicBezTo>
                    <a:cubicBezTo>
                      <a:pt x="305" y="25"/>
                      <a:pt x="305" y="25"/>
                      <a:pt x="305" y="25"/>
                    </a:cubicBezTo>
                    <a:cubicBezTo>
                      <a:pt x="320" y="25"/>
                      <a:pt x="333" y="37"/>
                      <a:pt x="333" y="53"/>
                    </a:cubicBezTo>
                    <a:cubicBezTo>
                      <a:pt x="333" y="384"/>
                      <a:pt x="333" y="384"/>
                      <a:pt x="333" y="384"/>
                    </a:cubicBezTo>
                    <a:lnTo>
                      <a:pt x="52" y="384"/>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5" name="Freeform 22"/>
              <p:cNvSpPr>
                <a:spLocks/>
              </p:cNvSpPr>
              <p:nvPr/>
            </p:nvSpPr>
            <p:spPr bwMode="auto">
              <a:xfrm>
                <a:off x="6735299" y="4827666"/>
                <a:ext cx="21812" cy="40679"/>
              </a:xfrm>
              <a:custGeom>
                <a:avLst/>
                <a:gdLst>
                  <a:gd name="T0" fmla="*/ 46 w 46"/>
                  <a:gd name="T1" fmla="*/ 0 h 94"/>
                  <a:gd name="T2" fmla="*/ 0 w 46"/>
                  <a:gd name="T3" fmla="*/ 47 h 94"/>
                  <a:gd name="T4" fmla="*/ 46 w 46"/>
                  <a:gd name="T5" fmla="*/ 94 h 94"/>
                  <a:gd name="T6" fmla="*/ 46 w 46"/>
                  <a:gd name="T7" fmla="*/ 0 h 94"/>
                </a:gdLst>
                <a:ahLst/>
                <a:cxnLst>
                  <a:cxn ang="0">
                    <a:pos x="T0" y="T1"/>
                  </a:cxn>
                  <a:cxn ang="0">
                    <a:pos x="T2" y="T3"/>
                  </a:cxn>
                  <a:cxn ang="0">
                    <a:pos x="T4" y="T5"/>
                  </a:cxn>
                  <a:cxn ang="0">
                    <a:pos x="T6" y="T7"/>
                  </a:cxn>
                </a:cxnLst>
                <a:rect l="0" t="0" r="r" b="b"/>
                <a:pathLst>
                  <a:path w="46" h="94">
                    <a:moveTo>
                      <a:pt x="46" y="0"/>
                    </a:moveTo>
                    <a:lnTo>
                      <a:pt x="0" y="47"/>
                    </a:lnTo>
                    <a:lnTo>
                      <a:pt x="46" y="94"/>
                    </a:lnTo>
                    <a:lnTo>
                      <a:pt x="46" y="0"/>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6" name="Freeform 23"/>
              <p:cNvSpPr>
                <a:spLocks/>
              </p:cNvSpPr>
              <p:nvPr/>
            </p:nvSpPr>
            <p:spPr bwMode="auto">
              <a:xfrm>
                <a:off x="6768018" y="4827666"/>
                <a:ext cx="21812" cy="40679"/>
              </a:xfrm>
              <a:custGeom>
                <a:avLst/>
                <a:gdLst>
                  <a:gd name="T0" fmla="*/ 0 w 46"/>
                  <a:gd name="T1" fmla="*/ 94 h 94"/>
                  <a:gd name="T2" fmla="*/ 46 w 46"/>
                  <a:gd name="T3" fmla="*/ 47 h 94"/>
                  <a:gd name="T4" fmla="*/ 0 w 46"/>
                  <a:gd name="T5" fmla="*/ 0 h 94"/>
                  <a:gd name="T6" fmla="*/ 0 w 46"/>
                  <a:gd name="T7" fmla="*/ 94 h 94"/>
                </a:gdLst>
                <a:ahLst/>
                <a:cxnLst>
                  <a:cxn ang="0">
                    <a:pos x="T0" y="T1"/>
                  </a:cxn>
                  <a:cxn ang="0">
                    <a:pos x="T2" y="T3"/>
                  </a:cxn>
                  <a:cxn ang="0">
                    <a:pos x="T4" y="T5"/>
                  </a:cxn>
                  <a:cxn ang="0">
                    <a:pos x="T6" y="T7"/>
                  </a:cxn>
                </a:cxnLst>
                <a:rect l="0" t="0" r="r" b="b"/>
                <a:pathLst>
                  <a:path w="46" h="94">
                    <a:moveTo>
                      <a:pt x="0" y="94"/>
                    </a:moveTo>
                    <a:lnTo>
                      <a:pt x="46" y="47"/>
                    </a:lnTo>
                    <a:lnTo>
                      <a:pt x="0" y="0"/>
                    </a:lnTo>
                    <a:lnTo>
                      <a:pt x="0" y="94"/>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47" name="Freeform 24"/>
              <p:cNvSpPr>
                <a:spLocks noEditPoints="1"/>
              </p:cNvSpPr>
              <p:nvPr/>
            </p:nvSpPr>
            <p:spPr bwMode="auto">
              <a:xfrm>
                <a:off x="6906005" y="4706928"/>
                <a:ext cx="41728" cy="90013"/>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grpSp>
        <p:sp>
          <p:nvSpPr>
            <p:cNvPr id="26" name="Freeform 357"/>
            <p:cNvSpPr>
              <a:spLocks noChangeAspect="1" noEditPoints="1"/>
            </p:cNvSpPr>
            <p:nvPr/>
          </p:nvSpPr>
          <p:spPr bwMode="auto">
            <a:xfrm>
              <a:off x="6485465" y="4017591"/>
              <a:ext cx="269079" cy="269083"/>
            </a:xfrm>
            <a:custGeom>
              <a:avLst/>
              <a:gdLst>
                <a:gd name="T0" fmla="*/ 200 w 400"/>
                <a:gd name="T1" fmla="*/ 400 h 400"/>
                <a:gd name="T2" fmla="*/ 200 w 400"/>
                <a:gd name="T3" fmla="*/ 0 h 400"/>
                <a:gd name="T4" fmla="*/ 96 w 400"/>
                <a:gd name="T5" fmla="*/ 190 h 400"/>
                <a:gd name="T6" fmla="*/ 43 w 400"/>
                <a:gd name="T7" fmla="*/ 111 h 400"/>
                <a:gd name="T8" fmla="*/ 96 w 400"/>
                <a:gd name="T9" fmla="*/ 190 h 400"/>
                <a:gd name="T10" fmla="*/ 131 w 400"/>
                <a:gd name="T11" fmla="*/ 111 h 400"/>
                <a:gd name="T12" fmla="*/ 190 w 400"/>
                <a:gd name="T13" fmla="*/ 190 h 400"/>
                <a:gd name="T14" fmla="*/ 190 w 400"/>
                <a:gd name="T15" fmla="*/ 20 h 400"/>
                <a:gd name="T16" fmla="*/ 190 w 400"/>
                <a:gd name="T17" fmla="*/ 91 h 400"/>
                <a:gd name="T18" fmla="*/ 56 w 400"/>
                <a:gd name="T19" fmla="*/ 91 h 400"/>
                <a:gd name="T20" fmla="*/ 158 w 400"/>
                <a:gd name="T21" fmla="*/ 24 h 400"/>
                <a:gd name="T22" fmla="*/ 380 w 400"/>
                <a:gd name="T23" fmla="*/ 190 h 400"/>
                <a:gd name="T24" fmla="*/ 290 w 400"/>
                <a:gd name="T25" fmla="*/ 111 h 400"/>
                <a:gd name="T26" fmla="*/ 380 w 400"/>
                <a:gd name="T27" fmla="*/ 190 h 400"/>
                <a:gd name="T28" fmla="*/ 284 w 400"/>
                <a:gd name="T29" fmla="*/ 190 h 400"/>
                <a:gd name="T30" fmla="*/ 210 w 400"/>
                <a:gd name="T31" fmla="*/ 111 h 400"/>
                <a:gd name="T32" fmla="*/ 210 w 400"/>
                <a:gd name="T33" fmla="*/ 91 h 400"/>
                <a:gd name="T34" fmla="*/ 210 w 400"/>
                <a:gd name="T35" fmla="*/ 20 h 400"/>
                <a:gd name="T36" fmla="*/ 242 w 400"/>
                <a:gd name="T37" fmla="*/ 24 h 400"/>
                <a:gd name="T38" fmla="*/ 344 w 400"/>
                <a:gd name="T39" fmla="*/ 91 h 400"/>
                <a:gd name="T40" fmla="*/ 20 w 400"/>
                <a:gd name="T41" fmla="*/ 210 h 400"/>
                <a:gd name="T42" fmla="*/ 110 w 400"/>
                <a:gd name="T43" fmla="*/ 289 h 400"/>
                <a:gd name="T44" fmla="*/ 20 w 400"/>
                <a:gd name="T45" fmla="*/ 210 h 400"/>
                <a:gd name="T46" fmla="*/ 116 w 400"/>
                <a:gd name="T47" fmla="*/ 210 h 400"/>
                <a:gd name="T48" fmla="*/ 190 w 400"/>
                <a:gd name="T49" fmla="*/ 289 h 400"/>
                <a:gd name="T50" fmla="*/ 190 w 400"/>
                <a:gd name="T51" fmla="*/ 309 h 400"/>
                <a:gd name="T52" fmla="*/ 190 w 400"/>
                <a:gd name="T53" fmla="*/ 380 h 400"/>
                <a:gd name="T54" fmla="*/ 158 w 400"/>
                <a:gd name="T55" fmla="*/ 376 h 400"/>
                <a:gd name="T56" fmla="*/ 56 w 400"/>
                <a:gd name="T57" fmla="*/ 309 h 400"/>
                <a:gd name="T58" fmla="*/ 304 w 400"/>
                <a:gd name="T59" fmla="*/ 210 h 400"/>
                <a:gd name="T60" fmla="*/ 357 w 400"/>
                <a:gd name="T61" fmla="*/ 289 h 400"/>
                <a:gd name="T62" fmla="*/ 304 w 400"/>
                <a:gd name="T63" fmla="*/ 210 h 400"/>
                <a:gd name="T64" fmla="*/ 269 w 400"/>
                <a:gd name="T65" fmla="*/ 289 h 400"/>
                <a:gd name="T66" fmla="*/ 210 w 400"/>
                <a:gd name="T67" fmla="*/ 210 h 400"/>
                <a:gd name="T68" fmla="*/ 210 w 400"/>
                <a:gd name="T69" fmla="*/ 380 h 400"/>
                <a:gd name="T70" fmla="*/ 210 w 400"/>
                <a:gd name="T71" fmla="*/ 309 h 400"/>
                <a:gd name="T72" fmla="*/ 344 w 400"/>
                <a:gd name="T73" fmla="*/ 309 h 400"/>
                <a:gd name="T74" fmla="*/ 242 w 400"/>
                <a:gd name="T75" fmla="*/ 37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400">
                  <a:moveTo>
                    <a:pt x="400" y="200"/>
                  </a:moveTo>
                  <a:cubicBezTo>
                    <a:pt x="400" y="310"/>
                    <a:pt x="310" y="400"/>
                    <a:pt x="200" y="400"/>
                  </a:cubicBezTo>
                  <a:cubicBezTo>
                    <a:pt x="90" y="400"/>
                    <a:pt x="0" y="310"/>
                    <a:pt x="0" y="200"/>
                  </a:cubicBezTo>
                  <a:cubicBezTo>
                    <a:pt x="0" y="90"/>
                    <a:pt x="90" y="0"/>
                    <a:pt x="200" y="0"/>
                  </a:cubicBezTo>
                  <a:cubicBezTo>
                    <a:pt x="310" y="0"/>
                    <a:pt x="400" y="90"/>
                    <a:pt x="400" y="200"/>
                  </a:cubicBezTo>
                  <a:close/>
                  <a:moveTo>
                    <a:pt x="96" y="190"/>
                  </a:moveTo>
                  <a:cubicBezTo>
                    <a:pt x="97" y="162"/>
                    <a:pt x="102" y="135"/>
                    <a:pt x="110" y="111"/>
                  </a:cubicBezTo>
                  <a:cubicBezTo>
                    <a:pt x="43" y="111"/>
                    <a:pt x="43" y="111"/>
                    <a:pt x="43" y="111"/>
                  </a:cubicBezTo>
                  <a:cubicBezTo>
                    <a:pt x="30" y="134"/>
                    <a:pt x="21" y="161"/>
                    <a:pt x="20" y="190"/>
                  </a:cubicBezTo>
                  <a:lnTo>
                    <a:pt x="96" y="190"/>
                  </a:lnTo>
                  <a:close/>
                  <a:moveTo>
                    <a:pt x="190" y="111"/>
                  </a:moveTo>
                  <a:cubicBezTo>
                    <a:pt x="131" y="111"/>
                    <a:pt x="131" y="111"/>
                    <a:pt x="131" y="111"/>
                  </a:cubicBezTo>
                  <a:cubicBezTo>
                    <a:pt x="122" y="135"/>
                    <a:pt x="117" y="162"/>
                    <a:pt x="116" y="190"/>
                  </a:cubicBezTo>
                  <a:cubicBezTo>
                    <a:pt x="190" y="190"/>
                    <a:pt x="190" y="190"/>
                    <a:pt x="190" y="190"/>
                  </a:cubicBezTo>
                  <a:cubicBezTo>
                    <a:pt x="190" y="111"/>
                    <a:pt x="190" y="111"/>
                    <a:pt x="190" y="111"/>
                  </a:cubicBezTo>
                  <a:close/>
                  <a:moveTo>
                    <a:pt x="190" y="20"/>
                  </a:moveTo>
                  <a:cubicBezTo>
                    <a:pt x="169" y="39"/>
                    <a:pt x="151" y="63"/>
                    <a:pt x="139" y="91"/>
                  </a:cubicBezTo>
                  <a:cubicBezTo>
                    <a:pt x="190" y="91"/>
                    <a:pt x="190" y="91"/>
                    <a:pt x="190" y="91"/>
                  </a:cubicBezTo>
                  <a:lnTo>
                    <a:pt x="190" y="20"/>
                  </a:lnTo>
                  <a:close/>
                  <a:moveTo>
                    <a:pt x="56" y="91"/>
                  </a:moveTo>
                  <a:cubicBezTo>
                    <a:pt x="117" y="91"/>
                    <a:pt x="117" y="91"/>
                    <a:pt x="117" y="91"/>
                  </a:cubicBezTo>
                  <a:cubicBezTo>
                    <a:pt x="128" y="66"/>
                    <a:pt x="142" y="43"/>
                    <a:pt x="158" y="24"/>
                  </a:cubicBezTo>
                  <a:cubicBezTo>
                    <a:pt x="116" y="34"/>
                    <a:pt x="80" y="59"/>
                    <a:pt x="56" y="91"/>
                  </a:cubicBezTo>
                  <a:close/>
                  <a:moveTo>
                    <a:pt x="380" y="190"/>
                  </a:moveTo>
                  <a:cubicBezTo>
                    <a:pt x="379" y="161"/>
                    <a:pt x="370" y="134"/>
                    <a:pt x="357" y="111"/>
                  </a:cubicBezTo>
                  <a:cubicBezTo>
                    <a:pt x="290" y="111"/>
                    <a:pt x="290" y="111"/>
                    <a:pt x="290" y="111"/>
                  </a:cubicBezTo>
                  <a:cubicBezTo>
                    <a:pt x="298" y="135"/>
                    <a:pt x="303" y="162"/>
                    <a:pt x="304" y="190"/>
                  </a:cubicBezTo>
                  <a:lnTo>
                    <a:pt x="380" y="190"/>
                  </a:lnTo>
                  <a:close/>
                  <a:moveTo>
                    <a:pt x="210" y="190"/>
                  </a:moveTo>
                  <a:cubicBezTo>
                    <a:pt x="284" y="190"/>
                    <a:pt x="284" y="190"/>
                    <a:pt x="284" y="190"/>
                  </a:cubicBezTo>
                  <a:cubicBezTo>
                    <a:pt x="283" y="162"/>
                    <a:pt x="278" y="135"/>
                    <a:pt x="269" y="111"/>
                  </a:cubicBezTo>
                  <a:cubicBezTo>
                    <a:pt x="210" y="111"/>
                    <a:pt x="210" y="111"/>
                    <a:pt x="210" y="111"/>
                  </a:cubicBezTo>
                  <a:lnTo>
                    <a:pt x="210" y="190"/>
                  </a:lnTo>
                  <a:close/>
                  <a:moveTo>
                    <a:pt x="210" y="91"/>
                  </a:moveTo>
                  <a:cubicBezTo>
                    <a:pt x="261" y="91"/>
                    <a:pt x="261" y="91"/>
                    <a:pt x="261" y="91"/>
                  </a:cubicBezTo>
                  <a:cubicBezTo>
                    <a:pt x="249" y="63"/>
                    <a:pt x="231" y="39"/>
                    <a:pt x="210" y="20"/>
                  </a:cubicBezTo>
                  <a:lnTo>
                    <a:pt x="210" y="91"/>
                  </a:lnTo>
                  <a:close/>
                  <a:moveTo>
                    <a:pt x="242" y="24"/>
                  </a:moveTo>
                  <a:cubicBezTo>
                    <a:pt x="258" y="43"/>
                    <a:pt x="272" y="66"/>
                    <a:pt x="283" y="91"/>
                  </a:cubicBezTo>
                  <a:cubicBezTo>
                    <a:pt x="344" y="91"/>
                    <a:pt x="344" y="91"/>
                    <a:pt x="344" y="91"/>
                  </a:cubicBezTo>
                  <a:cubicBezTo>
                    <a:pt x="320" y="59"/>
                    <a:pt x="284" y="34"/>
                    <a:pt x="242" y="24"/>
                  </a:cubicBezTo>
                  <a:close/>
                  <a:moveTo>
                    <a:pt x="20" y="210"/>
                  </a:moveTo>
                  <a:cubicBezTo>
                    <a:pt x="21" y="239"/>
                    <a:pt x="30" y="266"/>
                    <a:pt x="43" y="289"/>
                  </a:cubicBezTo>
                  <a:cubicBezTo>
                    <a:pt x="110" y="289"/>
                    <a:pt x="110" y="289"/>
                    <a:pt x="110" y="289"/>
                  </a:cubicBezTo>
                  <a:cubicBezTo>
                    <a:pt x="102" y="265"/>
                    <a:pt x="97" y="238"/>
                    <a:pt x="96" y="210"/>
                  </a:cubicBezTo>
                  <a:cubicBezTo>
                    <a:pt x="20" y="210"/>
                    <a:pt x="20" y="210"/>
                    <a:pt x="20" y="210"/>
                  </a:cubicBezTo>
                  <a:close/>
                  <a:moveTo>
                    <a:pt x="190" y="210"/>
                  </a:moveTo>
                  <a:cubicBezTo>
                    <a:pt x="116" y="210"/>
                    <a:pt x="116" y="210"/>
                    <a:pt x="116" y="210"/>
                  </a:cubicBezTo>
                  <a:cubicBezTo>
                    <a:pt x="117" y="238"/>
                    <a:pt x="122" y="265"/>
                    <a:pt x="131" y="289"/>
                  </a:cubicBezTo>
                  <a:cubicBezTo>
                    <a:pt x="190" y="289"/>
                    <a:pt x="190" y="289"/>
                    <a:pt x="190" y="289"/>
                  </a:cubicBezTo>
                  <a:lnTo>
                    <a:pt x="190" y="210"/>
                  </a:lnTo>
                  <a:close/>
                  <a:moveTo>
                    <a:pt x="190" y="309"/>
                  </a:moveTo>
                  <a:cubicBezTo>
                    <a:pt x="139" y="309"/>
                    <a:pt x="139" y="309"/>
                    <a:pt x="139" y="309"/>
                  </a:cubicBezTo>
                  <a:cubicBezTo>
                    <a:pt x="151" y="337"/>
                    <a:pt x="169" y="361"/>
                    <a:pt x="190" y="380"/>
                  </a:cubicBezTo>
                  <a:cubicBezTo>
                    <a:pt x="190" y="309"/>
                    <a:pt x="190" y="309"/>
                    <a:pt x="190" y="309"/>
                  </a:cubicBezTo>
                  <a:close/>
                  <a:moveTo>
                    <a:pt x="158" y="376"/>
                  </a:moveTo>
                  <a:cubicBezTo>
                    <a:pt x="142" y="357"/>
                    <a:pt x="128" y="334"/>
                    <a:pt x="117" y="309"/>
                  </a:cubicBezTo>
                  <a:cubicBezTo>
                    <a:pt x="56" y="309"/>
                    <a:pt x="56" y="309"/>
                    <a:pt x="56" y="309"/>
                  </a:cubicBezTo>
                  <a:cubicBezTo>
                    <a:pt x="80" y="341"/>
                    <a:pt x="116" y="366"/>
                    <a:pt x="158" y="376"/>
                  </a:cubicBezTo>
                  <a:close/>
                  <a:moveTo>
                    <a:pt x="304" y="210"/>
                  </a:moveTo>
                  <a:cubicBezTo>
                    <a:pt x="303" y="238"/>
                    <a:pt x="298" y="265"/>
                    <a:pt x="290" y="289"/>
                  </a:cubicBezTo>
                  <a:cubicBezTo>
                    <a:pt x="357" y="289"/>
                    <a:pt x="357" y="289"/>
                    <a:pt x="357" y="289"/>
                  </a:cubicBezTo>
                  <a:cubicBezTo>
                    <a:pt x="370" y="266"/>
                    <a:pt x="379" y="239"/>
                    <a:pt x="380" y="210"/>
                  </a:cubicBezTo>
                  <a:cubicBezTo>
                    <a:pt x="304" y="210"/>
                    <a:pt x="304" y="210"/>
                    <a:pt x="304" y="210"/>
                  </a:cubicBezTo>
                  <a:close/>
                  <a:moveTo>
                    <a:pt x="210" y="289"/>
                  </a:moveTo>
                  <a:cubicBezTo>
                    <a:pt x="269" y="289"/>
                    <a:pt x="269" y="289"/>
                    <a:pt x="269" y="289"/>
                  </a:cubicBezTo>
                  <a:cubicBezTo>
                    <a:pt x="278" y="265"/>
                    <a:pt x="283" y="238"/>
                    <a:pt x="284" y="210"/>
                  </a:cubicBezTo>
                  <a:cubicBezTo>
                    <a:pt x="210" y="210"/>
                    <a:pt x="210" y="210"/>
                    <a:pt x="210" y="210"/>
                  </a:cubicBezTo>
                  <a:lnTo>
                    <a:pt x="210" y="289"/>
                  </a:lnTo>
                  <a:close/>
                  <a:moveTo>
                    <a:pt x="210" y="380"/>
                  </a:moveTo>
                  <a:cubicBezTo>
                    <a:pt x="231" y="361"/>
                    <a:pt x="249" y="337"/>
                    <a:pt x="261" y="309"/>
                  </a:cubicBezTo>
                  <a:cubicBezTo>
                    <a:pt x="210" y="309"/>
                    <a:pt x="210" y="309"/>
                    <a:pt x="210" y="309"/>
                  </a:cubicBezTo>
                  <a:lnTo>
                    <a:pt x="210" y="380"/>
                  </a:lnTo>
                  <a:close/>
                  <a:moveTo>
                    <a:pt x="344" y="309"/>
                  </a:moveTo>
                  <a:cubicBezTo>
                    <a:pt x="283" y="309"/>
                    <a:pt x="283" y="309"/>
                    <a:pt x="283" y="309"/>
                  </a:cubicBezTo>
                  <a:cubicBezTo>
                    <a:pt x="272" y="334"/>
                    <a:pt x="258" y="357"/>
                    <a:pt x="242" y="376"/>
                  </a:cubicBezTo>
                  <a:cubicBezTo>
                    <a:pt x="284" y="366"/>
                    <a:pt x="320" y="341"/>
                    <a:pt x="344" y="309"/>
                  </a:cubicBezTo>
                  <a:close/>
                </a:path>
              </a:pathLst>
            </a:custGeom>
            <a:solidFill>
              <a:srgbClr val="FFFFFF"/>
            </a:solidFill>
            <a:ln>
              <a:noFill/>
            </a:ln>
            <a:extLst/>
          </p:spPr>
          <p:txBody>
            <a:bodyPr vert="horz" wrap="square" lIns="87773" tIns="43885" rIns="87773" bIns="43885" numCol="1" anchor="t" anchorCtr="0" compatLnSpc="1">
              <a:prstTxWarp prst="textNoShape">
                <a:avLst/>
              </a:prstTxWarp>
            </a:bodyPr>
            <a:lstStyle/>
            <a:p>
              <a:pPr defTabSz="877397">
                <a:defRPr/>
              </a:pPr>
              <a:endParaRPr lang="en-US" sz="2157" kern="0">
                <a:solidFill>
                  <a:srgbClr val="FFFFFF"/>
                </a:solidFill>
              </a:endParaRPr>
            </a:p>
          </p:txBody>
        </p:sp>
        <p:sp>
          <p:nvSpPr>
            <p:cNvPr id="27" name="Freeform 99"/>
            <p:cNvSpPr>
              <a:spLocks noEditPoints="1"/>
            </p:cNvSpPr>
            <p:nvPr/>
          </p:nvSpPr>
          <p:spPr bwMode="black">
            <a:xfrm>
              <a:off x="7100558" y="4017591"/>
              <a:ext cx="327871" cy="27249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p:spPr>
          <p:txBody>
            <a:bodyPr vert="horz" wrap="square" lIns="87773" tIns="43885" rIns="87773" bIns="43885" numCol="1" anchor="t" anchorCtr="0" compatLnSpc="1">
              <a:prstTxWarp prst="textNoShape">
                <a:avLst/>
              </a:prstTxWarp>
            </a:bodyPr>
            <a:lstStyle/>
            <a:p>
              <a:pPr defTabSz="756212">
                <a:defRPr/>
              </a:pPr>
              <a:endParaRPr lang="en-US" sz="2157" kern="0" dirty="0">
                <a:solidFill>
                  <a:srgbClr val="505050"/>
                </a:solidFill>
              </a:endParaRPr>
            </a:p>
          </p:txBody>
        </p:sp>
      </p:grpSp>
      <p:grpSp>
        <p:nvGrpSpPr>
          <p:cNvPr id="53" name="Group 14"/>
          <p:cNvGrpSpPr/>
          <p:nvPr/>
        </p:nvGrpSpPr>
        <p:grpSpPr>
          <a:xfrm>
            <a:off x="3750749" y="2090373"/>
            <a:ext cx="1937230" cy="1193855"/>
            <a:chOff x="6162489" y="3096432"/>
            <a:chExt cx="1976635" cy="1218140"/>
          </a:xfrm>
        </p:grpSpPr>
        <p:grpSp>
          <p:nvGrpSpPr>
            <p:cNvPr id="54" name="Group 12"/>
            <p:cNvGrpSpPr/>
            <p:nvPr/>
          </p:nvGrpSpPr>
          <p:grpSpPr>
            <a:xfrm>
              <a:off x="6162489" y="3096432"/>
              <a:ext cx="1976635" cy="1218140"/>
              <a:chOff x="6162489" y="3096432"/>
              <a:chExt cx="1976635" cy="1218140"/>
            </a:xfrm>
          </p:grpSpPr>
          <p:sp>
            <p:nvSpPr>
              <p:cNvPr id="78" name="Rectangle 56"/>
              <p:cNvSpPr/>
              <p:nvPr/>
            </p:nvSpPr>
            <p:spPr bwMode="auto">
              <a:xfrm>
                <a:off x="6162490" y="3096432"/>
                <a:ext cx="1976634" cy="374928"/>
              </a:xfrm>
              <a:prstGeom prst="rect">
                <a:avLst/>
              </a:pr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87773" tIns="87773" rIns="87773" bIns="87773" numCol="1" spcCol="0" rtlCol="0" fromWordArt="0" anchor="t" anchorCtr="0" forceAA="0" compatLnSpc="1">
                <a:prstTxWarp prst="textNoShape">
                  <a:avLst/>
                </a:prstTxWarp>
                <a:spAutoFit/>
              </a:bodyPr>
              <a:lstStyle/>
              <a:p>
                <a:pPr defTabSz="877144" fontAlgn="base">
                  <a:lnSpc>
                    <a:spcPct val="90000"/>
                  </a:lnSpc>
                  <a:spcBef>
                    <a:spcPct val="0"/>
                  </a:spcBef>
                  <a:spcAft>
                    <a:spcPct val="0"/>
                  </a:spcAft>
                  <a:defRPr/>
                </a:pPr>
                <a:r>
                  <a:rPr lang="en-US" sz="1370" kern="0" spc="-48" dirty="0">
                    <a:gradFill>
                      <a:gsLst>
                        <a:gs pos="1250">
                          <a:srgbClr val="FFFFFF"/>
                        </a:gs>
                        <a:gs pos="10417">
                          <a:srgbClr val="FFFFFF"/>
                        </a:gs>
                      </a:gsLst>
                      <a:lin ang="5400000" scaled="0"/>
                    </a:gradFill>
                  </a:rPr>
                  <a:t>Management Portal/API</a:t>
                </a:r>
              </a:p>
            </p:txBody>
          </p:sp>
          <p:grpSp>
            <p:nvGrpSpPr>
              <p:cNvPr id="79" name="Group 11"/>
              <p:cNvGrpSpPr/>
              <p:nvPr/>
            </p:nvGrpSpPr>
            <p:grpSpPr>
              <a:xfrm>
                <a:off x="6162489" y="3686986"/>
                <a:ext cx="1975450" cy="627586"/>
                <a:chOff x="6162489" y="3686986"/>
                <a:chExt cx="1975450" cy="627586"/>
              </a:xfrm>
            </p:grpSpPr>
            <p:sp>
              <p:nvSpPr>
                <p:cNvPr id="80" name="Rectangle 57"/>
                <p:cNvSpPr/>
                <p:nvPr/>
              </p:nvSpPr>
              <p:spPr bwMode="auto">
                <a:xfrm>
                  <a:off x="6162489" y="3686986"/>
                  <a:ext cx="627578" cy="627586"/>
                </a:xfrm>
                <a:prstGeom prst="rect">
                  <a:avLst/>
                </a:prstGeom>
                <a:solidFill>
                  <a:srgbClr val="FFFFFF">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87773" tIns="43885" rIns="87773" bIns="43885" numCol="1" spcCol="0" rtlCol="0" fromWordArt="0" anchor="t" anchorCtr="0" forceAA="0" compatLnSpc="1">
                  <a:prstTxWarp prst="textNoShape">
                    <a:avLst/>
                  </a:prstTxWarp>
                  <a:noAutofit/>
                </a:bodyPr>
                <a:lstStyle/>
                <a:p>
                  <a:pPr defTabSz="877144" fontAlgn="base">
                    <a:lnSpc>
                      <a:spcPct val="90000"/>
                    </a:lnSpc>
                    <a:spcBef>
                      <a:spcPct val="0"/>
                    </a:spcBef>
                    <a:spcAft>
                      <a:spcPct val="0"/>
                    </a:spcAft>
                    <a:defRPr/>
                  </a:pPr>
                  <a:r>
                    <a:rPr lang="en-US" sz="980" kern="0" spc="-28" dirty="0">
                      <a:gradFill>
                        <a:gsLst>
                          <a:gs pos="1250">
                            <a:srgbClr val="FFFFFF"/>
                          </a:gs>
                          <a:gs pos="10417">
                            <a:srgbClr val="FFFFFF"/>
                          </a:gs>
                        </a:gsLst>
                        <a:lin ang="5400000" scaled="0"/>
                      </a:gradFill>
                    </a:rPr>
                    <a:t>Web </a:t>
                  </a:r>
                  <a:br>
                    <a:rPr lang="en-US" sz="980" kern="0" spc="-28" dirty="0">
                      <a:gradFill>
                        <a:gsLst>
                          <a:gs pos="1250">
                            <a:srgbClr val="FFFFFF"/>
                          </a:gs>
                          <a:gs pos="10417">
                            <a:srgbClr val="FFFFFF"/>
                          </a:gs>
                        </a:gsLst>
                        <a:lin ang="5400000" scaled="0"/>
                      </a:gradFill>
                    </a:rPr>
                  </a:br>
                  <a:r>
                    <a:rPr lang="en-US" sz="980" kern="0" spc="-28" dirty="0">
                      <a:gradFill>
                        <a:gsLst>
                          <a:gs pos="1250">
                            <a:srgbClr val="FFFFFF"/>
                          </a:gs>
                          <a:gs pos="10417">
                            <a:srgbClr val="FFFFFF"/>
                          </a:gs>
                        </a:gsLst>
                        <a:lin ang="5400000" scaled="0"/>
                      </a:gradFill>
                    </a:rPr>
                    <a:t>sites</a:t>
                  </a:r>
                </a:p>
              </p:txBody>
            </p:sp>
            <p:sp>
              <p:nvSpPr>
                <p:cNvPr id="81" name="Rectangle 78"/>
                <p:cNvSpPr/>
                <p:nvPr/>
              </p:nvSpPr>
              <p:spPr bwMode="auto">
                <a:xfrm>
                  <a:off x="6836426" y="3686986"/>
                  <a:ext cx="627578" cy="627586"/>
                </a:xfrm>
                <a:prstGeom prst="rect">
                  <a:avLst/>
                </a:prstGeom>
                <a:solidFill>
                  <a:srgbClr val="FFFFFF">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87773" tIns="43885" rIns="87773" bIns="43885" numCol="1" spcCol="0" rtlCol="0" fromWordArt="0" anchor="t" anchorCtr="0" forceAA="0" compatLnSpc="1">
                  <a:prstTxWarp prst="textNoShape">
                    <a:avLst/>
                  </a:prstTxWarp>
                  <a:noAutofit/>
                </a:bodyPr>
                <a:lstStyle/>
                <a:p>
                  <a:pPr defTabSz="877144" fontAlgn="base">
                    <a:lnSpc>
                      <a:spcPct val="90000"/>
                    </a:lnSpc>
                    <a:spcBef>
                      <a:spcPct val="0"/>
                    </a:spcBef>
                    <a:spcAft>
                      <a:spcPct val="0"/>
                    </a:spcAft>
                    <a:defRPr/>
                  </a:pPr>
                  <a:r>
                    <a:rPr lang="en-US" sz="980" kern="0" spc="-28" dirty="0">
                      <a:gradFill>
                        <a:gsLst>
                          <a:gs pos="1250">
                            <a:srgbClr val="FFFFFF"/>
                          </a:gs>
                          <a:gs pos="10417">
                            <a:srgbClr val="FFFFFF"/>
                          </a:gs>
                        </a:gsLst>
                        <a:lin ang="5400000" scaled="0"/>
                      </a:gradFill>
                    </a:rPr>
                    <a:t>VM </a:t>
                  </a:r>
                </a:p>
              </p:txBody>
            </p:sp>
            <p:sp>
              <p:nvSpPr>
                <p:cNvPr id="82" name="Rectangle 81"/>
                <p:cNvSpPr/>
                <p:nvPr/>
              </p:nvSpPr>
              <p:spPr bwMode="auto">
                <a:xfrm>
                  <a:off x="7510361" y="3686986"/>
                  <a:ext cx="627578" cy="627586"/>
                </a:xfrm>
                <a:prstGeom prst="rect">
                  <a:avLst/>
                </a:prstGeom>
                <a:solidFill>
                  <a:srgbClr val="FFFFFF">
                    <a:lumMod val="50000"/>
                  </a:srgbClr>
                </a:solidFill>
                <a:ln w="10795" cap="flat" cmpd="sng" algn="ctr">
                  <a:noFill/>
                  <a:prstDash val="solid"/>
                  <a:headEnd type="none" w="med" len="med"/>
                  <a:tailEnd type="none" w="med" len="med"/>
                </a:ln>
                <a:effectLst/>
              </p:spPr>
              <p:txBody>
                <a:bodyPr rot="0" spcFirstLastPara="0" vertOverflow="overflow" horzOverflow="overflow" vert="horz" wrap="square" lIns="87773" tIns="43885" rIns="87773" bIns="43885" numCol="1" spcCol="0" rtlCol="0" fromWordArt="0" anchor="t" anchorCtr="0" forceAA="0" compatLnSpc="1">
                  <a:prstTxWarp prst="textNoShape">
                    <a:avLst/>
                  </a:prstTxWarp>
                  <a:noAutofit/>
                </a:bodyPr>
                <a:lstStyle/>
                <a:p>
                  <a:pPr defTabSz="877144" fontAlgn="base">
                    <a:lnSpc>
                      <a:spcPct val="90000"/>
                    </a:lnSpc>
                    <a:spcBef>
                      <a:spcPct val="0"/>
                    </a:spcBef>
                    <a:spcAft>
                      <a:spcPct val="0"/>
                    </a:spcAft>
                    <a:defRPr/>
                  </a:pPr>
                  <a:r>
                    <a:rPr lang="en-US" sz="980" kern="0" spc="-28" dirty="0">
                      <a:gradFill>
                        <a:gsLst>
                          <a:gs pos="1250">
                            <a:srgbClr val="FFFFFF"/>
                          </a:gs>
                          <a:gs pos="10417">
                            <a:srgbClr val="FFFFFF"/>
                          </a:gs>
                        </a:gsLst>
                        <a:lin ang="5400000" scaled="0"/>
                      </a:gradFill>
                    </a:rPr>
                    <a:t>Service </a:t>
                  </a:r>
                  <a:br>
                    <a:rPr lang="en-US" sz="980" kern="0" spc="-28" dirty="0">
                      <a:gradFill>
                        <a:gsLst>
                          <a:gs pos="1250">
                            <a:srgbClr val="FFFFFF"/>
                          </a:gs>
                          <a:gs pos="10417">
                            <a:srgbClr val="FFFFFF"/>
                          </a:gs>
                        </a:gsLst>
                        <a:lin ang="5400000" scaled="0"/>
                      </a:gradFill>
                    </a:rPr>
                  </a:br>
                  <a:r>
                    <a:rPr lang="en-US" sz="980" kern="0" spc="-28" dirty="0">
                      <a:gradFill>
                        <a:gsLst>
                          <a:gs pos="1250">
                            <a:srgbClr val="FFFFFF"/>
                          </a:gs>
                          <a:gs pos="10417">
                            <a:srgbClr val="FFFFFF"/>
                          </a:gs>
                        </a:gsLst>
                        <a:lin ang="5400000" scaled="0"/>
                      </a:gradFill>
                    </a:rPr>
                    <a:t>bus</a:t>
                  </a:r>
                </a:p>
              </p:txBody>
            </p:sp>
          </p:grpSp>
        </p:grpSp>
        <p:grpSp>
          <p:nvGrpSpPr>
            <p:cNvPr id="55" name="Group 6"/>
            <p:cNvGrpSpPr/>
            <p:nvPr/>
          </p:nvGrpSpPr>
          <p:grpSpPr>
            <a:xfrm>
              <a:off x="7775997" y="4005304"/>
              <a:ext cx="327148" cy="284795"/>
              <a:chOff x="6598260" y="4590950"/>
              <a:chExt cx="349473" cy="304226"/>
            </a:xfrm>
          </p:grpSpPr>
          <p:sp>
            <p:nvSpPr>
              <p:cNvPr id="58" name="Freeform 5"/>
              <p:cNvSpPr>
                <a:spLocks/>
              </p:cNvSpPr>
              <p:nvPr/>
            </p:nvSpPr>
            <p:spPr bwMode="auto">
              <a:xfrm>
                <a:off x="6691674" y="470043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59" name="Freeform 6"/>
              <p:cNvSpPr>
                <a:spLocks/>
              </p:cNvSpPr>
              <p:nvPr/>
            </p:nvSpPr>
            <p:spPr bwMode="auto">
              <a:xfrm>
                <a:off x="6691674" y="469654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0" name="Freeform 7"/>
              <p:cNvSpPr>
                <a:spLocks/>
              </p:cNvSpPr>
              <p:nvPr/>
            </p:nvSpPr>
            <p:spPr bwMode="auto">
              <a:xfrm>
                <a:off x="6833929" y="468529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1" name="Freeform 8"/>
              <p:cNvSpPr>
                <a:spLocks/>
              </p:cNvSpPr>
              <p:nvPr/>
            </p:nvSpPr>
            <p:spPr bwMode="auto">
              <a:xfrm>
                <a:off x="6738144" y="4641582"/>
                <a:ext cx="0" cy="43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2" name="Freeform 9"/>
              <p:cNvSpPr>
                <a:spLocks/>
              </p:cNvSpPr>
              <p:nvPr/>
            </p:nvSpPr>
            <p:spPr bwMode="auto">
              <a:xfrm>
                <a:off x="6770389" y="4717747"/>
                <a:ext cx="0" cy="433"/>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3" name="Freeform 10"/>
              <p:cNvSpPr>
                <a:spLocks noEditPoints="1"/>
              </p:cNvSpPr>
              <p:nvPr/>
            </p:nvSpPr>
            <p:spPr bwMode="auto">
              <a:xfrm>
                <a:off x="6645204" y="4590950"/>
                <a:ext cx="245627" cy="152329"/>
              </a:xfrm>
              <a:custGeom>
                <a:avLst/>
                <a:gdLst>
                  <a:gd name="T0" fmla="*/ 804 w 913"/>
                  <a:gd name="T1" fmla="*/ 236 h 620"/>
                  <a:gd name="T2" fmla="*/ 765 w 913"/>
                  <a:gd name="T3" fmla="*/ 243 h 620"/>
                  <a:gd name="T4" fmla="*/ 763 w 913"/>
                  <a:gd name="T5" fmla="*/ 193 h 620"/>
                  <a:gd name="T6" fmla="*/ 522 w 913"/>
                  <a:gd name="T7" fmla="*/ 18 h 620"/>
                  <a:gd name="T8" fmla="*/ 368 w 913"/>
                  <a:gd name="T9" fmla="*/ 129 h 620"/>
                  <a:gd name="T10" fmla="*/ 368 w 913"/>
                  <a:gd name="T11" fmla="*/ 129 h 620"/>
                  <a:gd name="T12" fmla="*/ 276 w 913"/>
                  <a:gd name="T13" fmla="*/ 82 h 620"/>
                  <a:gd name="T14" fmla="*/ 130 w 913"/>
                  <a:gd name="T15" fmla="*/ 206 h 620"/>
                  <a:gd name="T16" fmla="*/ 138 w 913"/>
                  <a:gd name="T17" fmla="*/ 262 h 620"/>
                  <a:gd name="T18" fmla="*/ 138 w 913"/>
                  <a:gd name="T19" fmla="*/ 262 h 620"/>
                  <a:gd name="T20" fmla="*/ 22 w 913"/>
                  <a:gd name="T21" fmla="*/ 333 h 620"/>
                  <a:gd name="T22" fmla="*/ 86 w 913"/>
                  <a:gd name="T23" fmla="*/ 476 h 620"/>
                  <a:gd name="T24" fmla="*/ 174 w 913"/>
                  <a:gd name="T25" fmla="*/ 472 h 620"/>
                  <a:gd name="T26" fmla="*/ 174 w 913"/>
                  <a:gd name="T27" fmla="*/ 472 h 620"/>
                  <a:gd name="T28" fmla="*/ 188 w 913"/>
                  <a:gd name="T29" fmla="*/ 512 h 620"/>
                  <a:gd name="T30" fmla="*/ 398 w 913"/>
                  <a:gd name="T31" fmla="*/ 582 h 620"/>
                  <a:gd name="T32" fmla="*/ 452 w 913"/>
                  <a:gd name="T33" fmla="*/ 538 h 620"/>
                  <a:gd name="T34" fmla="*/ 567 w 913"/>
                  <a:gd name="T35" fmla="*/ 576 h 620"/>
                  <a:gd name="T36" fmla="*/ 637 w 913"/>
                  <a:gd name="T37" fmla="*/ 500 h 620"/>
                  <a:gd name="T38" fmla="*/ 731 w 913"/>
                  <a:gd name="T39" fmla="*/ 506 h 620"/>
                  <a:gd name="T40" fmla="*/ 768 w 913"/>
                  <a:gd name="T41" fmla="*/ 448 h 620"/>
                  <a:gd name="T42" fmla="*/ 804 w 913"/>
                  <a:gd name="T43" fmla="*/ 454 h 620"/>
                  <a:gd name="T44" fmla="*/ 913 w 913"/>
                  <a:gd name="T45" fmla="*/ 346 h 620"/>
                  <a:gd name="T46" fmla="*/ 804 w 913"/>
                  <a:gd name="T47" fmla="*/ 236 h 620"/>
                  <a:gd name="T48" fmla="*/ 172 w 913"/>
                  <a:gd name="T49" fmla="*/ 446 h 620"/>
                  <a:gd name="T50" fmla="*/ 172 w 913"/>
                  <a:gd name="T51" fmla="*/ 446 h 620"/>
                  <a:gd name="T52" fmla="*/ 172 w 913"/>
                  <a:gd name="T53" fmla="*/ 446 h 620"/>
                  <a:gd name="T54" fmla="*/ 172 w 913"/>
                  <a:gd name="T55" fmla="*/ 446 h 620"/>
                  <a:gd name="T56" fmla="*/ 172 w 913"/>
                  <a:gd name="T57" fmla="*/ 431 h 620"/>
                  <a:gd name="T58" fmla="*/ 172 w 913"/>
                  <a:gd name="T59" fmla="*/ 431 h 620"/>
                  <a:gd name="T60" fmla="*/ 172 w 913"/>
                  <a:gd name="T61" fmla="*/ 431 h 620"/>
                  <a:gd name="T62" fmla="*/ 172 w 913"/>
                  <a:gd name="T63" fmla="*/ 431 h 620"/>
                  <a:gd name="T64" fmla="*/ 345 w 913"/>
                  <a:gd name="T65" fmla="*/ 208 h 620"/>
                  <a:gd name="T66" fmla="*/ 345 w 913"/>
                  <a:gd name="T67" fmla="*/ 207 h 620"/>
                  <a:gd name="T68" fmla="*/ 345 w 913"/>
                  <a:gd name="T69" fmla="*/ 207 h 620"/>
                  <a:gd name="T70" fmla="*/ 345 w 913"/>
                  <a:gd name="T71" fmla="*/ 208 h 620"/>
                  <a:gd name="T72" fmla="*/ 465 w 913"/>
                  <a:gd name="T73" fmla="*/ 518 h 620"/>
                  <a:gd name="T74" fmla="*/ 465 w 913"/>
                  <a:gd name="T75" fmla="*/ 518 h 620"/>
                  <a:gd name="T76" fmla="*/ 465 w 913"/>
                  <a:gd name="T77" fmla="*/ 517 h 620"/>
                  <a:gd name="T78" fmla="*/ 465 w 913"/>
                  <a:gd name="T79" fmla="*/ 518 h 620"/>
                  <a:gd name="T80" fmla="*/ 702 w 913"/>
                  <a:gd name="T81" fmla="*/ 385 h 620"/>
                  <a:gd name="T82" fmla="*/ 702 w 913"/>
                  <a:gd name="T83" fmla="*/ 385 h 620"/>
                  <a:gd name="T84" fmla="*/ 702 w 913"/>
                  <a:gd name="T85" fmla="*/ 385 h 620"/>
                  <a:gd name="T86" fmla="*/ 702 w 913"/>
                  <a:gd name="T87" fmla="*/ 3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0">
                    <a:moveTo>
                      <a:pt x="804" y="236"/>
                    </a:moveTo>
                    <a:cubicBezTo>
                      <a:pt x="791" y="236"/>
                      <a:pt x="778" y="239"/>
                      <a:pt x="765" y="243"/>
                    </a:cubicBezTo>
                    <a:cubicBezTo>
                      <a:pt x="767" y="227"/>
                      <a:pt x="766" y="210"/>
                      <a:pt x="763" y="193"/>
                    </a:cubicBezTo>
                    <a:cubicBezTo>
                      <a:pt x="745" y="78"/>
                      <a:pt x="637" y="0"/>
                      <a:pt x="522" y="18"/>
                    </a:cubicBezTo>
                    <a:cubicBezTo>
                      <a:pt x="453" y="29"/>
                      <a:pt x="398" y="72"/>
                      <a:pt x="368" y="129"/>
                    </a:cubicBezTo>
                    <a:cubicBezTo>
                      <a:pt x="368" y="129"/>
                      <a:pt x="368" y="129"/>
                      <a:pt x="368" y="129"/>
                    </a:cubicBezTo>
                    <a:cubicBezTo>
                      <a:pt x="346" y="102"/>
                      <a:pt x="314" y="85"/>
                      <a:pt x="276" y="82"/>
                    </a:cubicBezTo>
                    <a:cubicBezTo>
                      <a:pt x="202" y="75"/>
                      <a:pt x="136" y="131"/>
                      <a:pt x="130" y="206"/>
                    </a:cubicBezTo>
                    <a:cubicBezTo>
                      <a:pt x="128" y="225"/>
                      <a:pt x="131" y="245"/>
                      <a:pt x="138" y="262"/>
                    </a:cubicBezTo>
                    <a:cubicBezTo>
                      <a:pt x="138" y="262"/>
                      <a:pt x="138" y="262"/>
                      <a:pt x="138" y="262"/>
                    </a:cubicBezTo>
                    <a:cubicBezTo>
                      <a:pt x="89" y="257"/>
                      <a:pt x="41" y="285"/>
                      <a:pt x="22" y="333"/>
                    </a:cubicBezTo>
                    <a:cubicBezTo>
                      <a:pt x="0" y="390"/>
                      <a:pt x="29" y="454"/>
                      <a:pt x="86" y="476"/>
                    </a:cubicBezTo>
                    <a:cubicBezTo>
                      <a:pt x="116" y="488"/>
                      <a:pt x="148" y="485"/>
                      <a:pt x="174" y="472"/>
                    </a:cubicBezTo>
                    <a:cubicBezTo>
                      <a:pt x="174" y="472"/>
                      <a:pt x="174" y="472"/>
                      <a:pt x="174" y="472"/>
                    </a:cubicBezTo>
                    <a:cubicBezTo>
                      <a:pt x="177" y="485"/>
                      <a:pt x="182" y="499"/>
                      <a:pt x="188" y="512"/>
                    </a:cubicBezTo>
                    <a:cubicBezTo>
                      <a:pt x="227" y="589"/>
                      <a:pt x="321" y="620"/>
                      <a:pt x="398" y="582"/>
                    </a:cubicBezTo>
                    <a:cubicBezTo>
                      <a:pt x="420" y="571"/>
                      <a:pt x="438" y="556"/>
                      <a:pt x="452" y="538"/>
                    </a:cubicBezTo>
                    <a:cubicBezTo>
                      <a:pt x="477" y="573"/>
                      <a:pt x="523" y="590"/>
                      <a:pt x="567" y="576"/>
                    </a:cubicBezTo>
                    <a:cubicBezTo>
                      <a:pt x="604" y="565"/>
                      <a:pt x="629" y="535"/>
                      <a:pt x="637" y="500"/>
                    </a:cubicBezTo>
                    <a:cubicBezTo>
                      <a:pt x="663" y="521"/>
                      <a:pt x="701" y="525"/>
                      <a:pt x="731" y="506"/>
                    </a:cubicBezTo>
                    <a:cubicBezTo>
                      <a:pt x="752" y="493"/>
                      <a:pt x="765" y="471"/>
                      <a:pt x="768" y="448"/>
                    </a:cubicBezTo>
                    <a:cubicBezTo>
                      <a:pt x="779" y="452"/>
                      <a:pt x="791" y="454"/>
                      <a:pt x="804" y="454"/>
                    </a:cubicBezTo>
                    <a:cubicBezTo>
                      <a:pt x="864" y="455"/>
                      <a:pt x="913" y="406"/>
                      <a:pt x="913" y="346"/>
                    </a:cubicBezTo>
                    <a:cubicBezTo>
                      <a:pt x="913" y="285"/>
                      <a:pt x="864" y="236"/>
                      <a:pt x="804" y="236"/>
                    </a:cubicBezTo>
                    <a:close/>
                    <a:moveTo>
                      <a:pt x="172" y="446"/>
                    </a:moveTo>
                    <a:cubicBezTo>
                      <a:pt x="172" y="446"/>
                      <a:pt x="172" y="446"/>
                      <a:pt x="172" y="446"/>
                    </a:cubicBezTo>
                    <a:cubicBezTo>
                      <a:pt x="172" y="446"/>
                      <a:pt x="172" y="446"/>
                      <a:pt x="172" y="446"/>
                    </a:cubicBezTo>
                    <a:cubicBezTo>
                      <a:pt x="172" y="446"/>
                      <a:pt x="172" y="446"/>
                      <a:pt x="172" y="446"/>
                    </a:cubicBezTo>
                    <a:close/>
                    <a:moveTo>
                      <a:pt x="172" y="431"/>
                    </a:moveTo>
                    <a:cubicBezTo>
                      <a:pt x="172" y="431"/>
                      <a:pt x="172" y="431"/>
                      <a:pt x="172" y="431"/>
                    </a:cubicBezTo>
                    <a:cubicBezTo>
                      <a:pt x="172" y="431"/>
                      <a:pt x="172" y="431"/>
                      <a:pt x="172" y="431"/>
                    </a:cubicBezTo>
                    <a:cubicBezTo>
                      <a:pt x="172" y="431"/>
                      <a:pt x="172" y="431"/>
                      <a:pt x="172" y="431"/>
                    </a:cubicBezTo>
                    <a:close/>
                    <a:moveTo>
                      <a:pt x="345" y="208"/>
                    </a:moveTo>
                    <a:cubicBezTo>
                      <a:pt x="345" y="208"/>
                      <a:pt x="345" y="208"/>
                      <a:pt x="345" y="207"/>
                    </a:cubicBezTo>
                    <a:cubicBezTo>
                      <a:pt x="345" y="207"/>
                      <a:pt x="345" y="207"/>
                      <a:pt x="345" y="207"/>
                    </a:cubicBezTo>
                    <a:cubicBezTo>
                      <a:pt x="345" y="208"/>
                      <a:pt x="345" y="208"/>
                      <a:pt x="345" y="208"/>
                    </a:cubicBezTo>
                    <a:close/>
                    <a:moveTo>
                      <a:pt x="465" y="518"/>
                    </a:moveTo>
                    <a:cubicBezTo>
                      <a:pt x="465" y="518"/>
                      <a:pt x="465" y="518"/>
                      <a:pt x="465" y="518"/>
                    </a:cubicBezTo>
                    <a:cubicBezTo>
                      <a:pt x="465" y="518"/>
                      <a:pt x="465" y="518"/>
                      <a:pt x="465" y="517"/>
                    </a:cubicBezTo>
                    <a:cubicBezTo>
                      <a:pt x="465" y="517"/>
                      <a:pt x="465" y="518"/>
                      <a:pt x="465" y="518"/>
                    </a:cubicBezTo>
                    <a:close/>
                    <a:moveTo>
                      <a:pt x="702" y="385"/>
                    </a:moveTo>
                    <a:cubicBezTo>
                      <a:pt x="702" y="385"/>
                      <a:pt x="702" y="385"/>
                      <a:pt x="702" y="385"/>
                    </a:cubicBezTo>
                    <a:cubicBezTo>
                      <a:pt x="702" y="385"/>
                      <a:pt x="702" y="385"/>
                      <a:pt x="702" y="385"/>
                    </a:cubicBezTo>
                    <a:cubicBezTo>
                      <a:pt x="702" y="385"/>
                      <a:pt x="702" y="385"/>
                      <a:pt x="702" y="385"/>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4" name="Freeform 11"/>
              <p:cNvSpPr>
                <a:spLocks noEditPoints="1"/>
              </p:cNvSpPr>
              <p:nvPr/>
            </p:nvSpPr>
            <p:spPr bwMode="auto">
              <a:xfrm>
                <a:off x="6598260" y="4706928"/>
                <a:ext cx="41728" cy="90013"/>
              </a:xfrm>
              <a:custGeom>
                <a:avLst/>
                <a:gdLst>
                  <a:gd name="T0" fmla="*/ 79 w 155"/>
                  <a:gd name="T1" fmla="*/ 328 h 368"/>
                  <a:gd name="T2" fmla="*/ 114 w 155"/>
                  <a:gd name="T3" fmla="*/ 293 h 368"/>
                  <a:gd name="T4" fmla="*/ 113 w 155"/>
                  <a:gd name="T5" fmla="*/ 74 h 368"/>
                  <a:gd name="T6" fmla="*/ 154 w 155"/>
                  <a:gd name="T7" fmla="*/ 116 h 368"/>
                  <a:gd name="T8" fmla="*/ 154 w 155"/>
                  <a:gd name="T9" fmla="*/ 0 h 368"/>
                  <a:gd name="T10" fmla="*/ 38 w 155"/>
                  <a:gd name="T11" fmla="*/ 0 h 368"/>
                  <a:gd name="T12" fmla="*/ 78 w 155"/>
                  <a:gd name="T13" fmla="*/ 40 h 368"/>
                  <a:gd name="T14" fmla="*/ 79 w 155"/>
                  <a:gd name="T15" fmla="*/ 328 h 368"/>
                  <a:gd name="T16" fmla="*/ 39 w 155"/>
                  <a:gd name="T17" fmla="*/ 368 h 368"/>
                  <a:gd name="T18" fmla="*/ 155 w 155"/>
                  <a:gd name="T19" fmla="*/ 368 h 368"/>
                  <a:gd name="T20" fmla="*/ 155 w 155"/>
                  <a:gd name="T21" fmla="*/ 253 h 368"/>
                  <a:gd name="T22" fmla="*/ 39 w 155"/>
                  <a:gd name="T23"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9" y="328"/>
                    </a:moveTo>
                    <a:cubicBezTo>
                      <a:pt x="114" y="293"/>
                      <a:pt x="114" y="293"/>
                      <a:pt x="114" y="293"/>
                    </a:cubicBezTo>
                    <a:cubicBezTo>
                      <a:pt x="54" y="233"/>
                      <a:pt x="53" y="135"/>
                      <a:pt x="113" y="74"/>
                    </a:cubicBezTo>
                    <a:cubicBezTo>
                      <a:pt x="154" y="116"/>
                      <a:pt x="154" y="116"/>
                      <a:pt x="154" y="116"/>
                    </a:cubicBezTo>
                    <a:cubicBezTo>
                      <a:pt x="154" y="0"/>
                      <a:pt x="154" y="0"/>
                      <a:pt x="154" y="0"/>
                    </a:cubicBezTo>
                    <a:cubicBezTo>
                      <a:pt x="38" y="0"/>
                      <a:pt x="38" y="0"/>
                      <a:pt x="38" y="0"/>
                    </a:cubicBezTo>
                    <a:cubicBezTo>
                      <a:pt x="78" y="40"/>
                      <a:pt x="78" y="40"/>
                      <a:pt x="78" y="40"/>
                    </a:cubicBezTo>
                    <a:cubicBezTo>
                      <a:pt x="0" y="120"/>
                      <a:pt x="0" y="248"/>
                      <a:pt x="79" y="328"/>
                    </a:cubicBezTo>
                    <a:close/>
                    <a:moveTo>
                      <a:pt x="39" y="368"/>
                    </a:moveTo>
                    <a:cubicBezTo>
                      <a:pt x="155" y="368"/>
                      <a:pt x="155" y="368"/>
                      <a:pt x="155" y="368"/>
                    </a:cubicBezTo>
                    <a:cubicBezTo>
                      <a:pt x="155" y="253"/>
                      <a:pt x="155" y="253"/>
                      <a:pt x="155" y="253"/>
                    </a:cubicBezTo>
                    <a:lnTo>
                      <a:pt x="39" y="368"/>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5" name="Freeform 12"/>
              <p:cNvSpPr>
                <a:spLocks/>
              </p:cNvSpPr>
              <p:nvPr/>
            </p:nvSpPr>
            <p:spPr bwMode="auto">
              <a:xfrm>
                <a:off x="6673181" y="4822906"/>
                <a:ext cx="35564" cy="6059"/>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6" name="Freeform 13"/>
              <p:cNvSpPr>
                <a:spLocks/>
              </p:cNvSpPr>
              <p:nvPr/>
            </p:nvSpPr>
            <p:spPr bwMode="auto">
              <a:xfrm>
                <a:off x="6649946" y="4836754"/>
                <a:ext cx="58799" cy="6491"/>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7" name="Freeform 14"/>
              <p:cNvSpPr>
                <a:spLocks/>
              </p:cNvSpPr>
              <p:nvPr/>
            </p:nvSpPr>
            <p:spPr bwMode="auto">
              <a:xfrm>
                <a:off x="6649946" y="4851035"/>
                <a:ext cx="58799" cy="6491"/>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8" name="Freeform 15"/>
              <p:cNvSpPr>
                <a:spLocks/>
              </p:cNvSpPr>
              <p:nvPr/>
            </p:nvSpPr>
            <p:spPr bwMode="auto">
              <a:xfrm>
                <a:off x="6649946" y="4865316"/>
                <a:ext cx="58799" cy="6059"/>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69" name="Freeform 16"/>
              <p:cNvSpPr>
                <a:spLocks noEditPoints="1"/>
              </p:cNvSpPr>
              <p:nvPr/>
            </p:nvSpPr>
            <p:spPr bwMode="auto">
              <a:xfrm>
                <a:off x="6631927" y="4795210"/>
                <a:ext cx="95785" cy="99966"/>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0" name="Freeform 17"/>
              <p:cNvSpPr>
                <a:spLocks/>
              </p:cNvSpPr>
              <p:nvPr/>
            </p:nvSpPr>
            <p:spPr bwMode="auto">
              <a:xfrm>
                <a:off x="6839619" y="4822906"/>
                <a:ext cx="36038" cy="6059"/>
              </a:xfrm>
              <a:custGeom>
                <a:avLst/>
                <a:gdLst>
                  <a:gd name="T0" fmla="*/ 120 w 133"/>
                  <a:gd name="T1" fmla="*/ 0 h 25"/>
                  <a:gd name="T2" fmla="*/ 12 w 133"/>
                  <a:gd name="T3" fmla="*/ 0 h 25"/>
                  <a:gd name="T4" fmla="*/ 0 w 133"/>
                  <a:gd name="T5" fmla="*/ 13 h 25"/>
                  <a:gd name="T6" fmla="*/ 12 w 133"/>
                  <a:gd name="T7" fmla="*/ 25 h 25"/>
                  <a:gd name="T8" fmla="*/ 120 w 133"/>
                  <a:gd name="T9" fmla="*/ 25 h 25"/>
                  <a:gd name="T10" fmla="*/ 133 w 133"/>
                  <a:gd name="T11" fmla="*/ 13 h 25"/>
                  <a:gd name="T12" fmla="*/ 120 w 133"/>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3" h="25">
                    <a:moveTo>
                      <a:pt x="120" y="0"/>
                    </a:moveTo>
                    <a:cubicBezTo>
                      <a:pt x="12" y="0"/>
                      <a:pt x="12" y="0"/>
                      <a:pt x="12" y="0"/>
                    </a:cubicBezTo>
                    <a:cubicBezTo>
                      <a:pt x="6" y="0"/>
                      <a:pt x="0" y="6"/>
                      <a:pt x="0" y="13"/>
                    </a:cubicBezTo>
                    <a:cubicBezTo>
                      <a:pt x="0" y="20"/>
                      <a:pt x="6" y="25"/>
                      <a:pt x="12" y="25"/>
                    </a:cubicBezTo>
                    <a:cubicBezTo>
                      <a:pt x="120" y="25"/>
                      <a:pt x="120" y="25"/>
                      <a:pt x="120" y="25"/>
                    </a:cubicBezTo>
                    <a:cubicBezTo>
                      <a:pt x="127" y="25"/>
                      <a:pt x="133" y="20"/>
                      <a:pt x="133" y="13"/>
                    </a:cubicBezTo>
                    <a:cubicBezTo>
                      <a:pt x="133" y="6"/>
                      <a:pt x="127" y="0"/>
                      <a:pt x="120"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1" name="Freeform 18"/>
              <p:cNvSpPr>
                <a:spLocks/>
              </p:cNvSpPr>
              <p:nvPr/>
            </p:nvSpPr>
            <p:spPr bwMode="auto">
              <a:xfrm>
                <a:off x="6816858" y="4836754"/>
                <a:ext cx="58799" cy="6491"/>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2" name="Freeform 19"/>
              <p:cNvSpPr>
                <a:spLocks/>
              </p:cNvSpPr>
              <p:nvPr/>
            </p:nvSpPr>
            <p:spPr bwMode="auto">
              <a:xfrm>
                <a:off x="6816858" y="4851035"/>
                <a:ext cx="58799" cy="6491"/>
              </a:xfrm>
              <a:custGeom>
                <a:avLst/>
                <a:gdLst>
                  <a:gd name="T0" fmla="*/ 205 w 218"/>
                  <a:gd name="T1" fmla="*/ 0 h 25"/>
                  <a:gd name="T2" fmla="*/ 12 w 218"/>
                  <a:gd name="T3" fmla="*/ 0 h 25"/>
                  <a:gd name="T4" fmla="*/ 0 w 218"/>
                  <a:gd name="T5" fmla="*/ 12 h 25"/>
                  <a:gd name="T6" fmla="*/ 12 w 218"/>
                  <a:gd name="T7" fmla="*/ 25 h 25"/>
                  <a:gd name="T8" fmla="*/ 205 w 218"/>
                  <a:gd name="T9" fmla="*/ 25 h 25"/>
                  <a:gd name="T10" fmla="*/ 218 w 218"/>
                  <a:gd name="T11" fmla="*/ 12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5"/>
                      <a:pt x="0" y="12"/>
                    </a:cubicBezTo>
                    <a:cubicBezTo>
                      <a:pt x="0" y="19"/>
                      <a:pt x="5" y="25"/>
                      <a:pt x="12" y="25"/>
                    </a:cubicBezTo>
                    <a:cubicBezTo>
                      <a:pt x="205" y="25"/>
                      <a:pt x="205" y="25"/>
                      <a:pt x="205" y="25"/>
                    </a:cubicBezTo>
                    <a:cubicBezTo>
                      <a:pt x="212" y="25"/>
                      <a:pt x="218" y="19"/>
                      <a:pt x="218" y="12"/>
                    </a:cubicBezTo>
                    <a:cubicBezTo>
                      <a:pt x="218" y="5"/>
                      <a:pt x="212" y="0"/>
                      <a:pt x="205"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3" name="Freeform 20"/>
              <p:cNvSpPr>
                <a:spLocks/>
              </p:cNvSpPr>
              <p:nvPr/>
            </p:nvSpPr>
            <p:spPr bwMode="auto">
              <a:xfrm>
                <a:off x="6816858" y="4865316"/>
                <a:ext cx="58799" cy="6059"/>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4" name="Freeform 21"/>
              <p:cNvSpPr>
                <a:spLocks noEditPoints="1"/>
              </p:cNvSpPr>
              <p:nvPr/>
            </p:nvSpPr>
            <p:spPr bwMode="auto">
              <a:xfrm>
                <a:off x="6798366" y="4795210"/>
                <a:ext cx="95785" cy="99966"/>
              </a:xfrm>
              <a:custGeom>
                <a:avLst/>
                <a:gdLst>
                  <a:gd name="T0" fmla="*/ 333 w 357"/>
                  <a:gd name="T1" fmla="*/ 407 h 407"/>
                  <a:gd name="T2" fmla="*/ 357 w 357"/>
                  <a:gd name="T3" fmla="*/ 407 h 407"/>
                  <a:gd name="T4" fmla="*/ 357 w 357"/>
                  <a:gd name="T5" fmla="*/ 39 h 407"/>
                  <a:gd name="T6" fmla="*/ 316 w 357"/>
                  <a:gd name="T7" fmla="*/ 0 h 407"/>
                  <a:gd name="T8" fmla="*/ 116 w 357"/>
                  <a:gd name="T9" fmla="*/ 0 h 407"/>
                  <a:gd name="T10" fmla="*/ 0 w 357"/>
                  <a:gd name="T11" fmla="*/ 103 h 407"/>
                  <a:gd name="T12" fmla="*/ 0 w 357"/>
                  <a:gd name="T13" fmla="*/ 367 h 407"/>
                  <a:gd name="T14" fmla="*/ 41 w 357"/>
                  <a:gd name="T15" fmla="*/ 407 h 407"/>
                  <a:gd name="T16" fmla="*/ 333 w 357"/>
                  <a:gd name="T17" fmla="*/ 407 h 407"/>
                  <a:gd name="T18" fmla="*/ 52 w 357"/>
                  <a:gd name="T19" fmla="*/ 384 h 407"/>
                  <a:gd name="T20" fmla="*/ 25 w 357"/>
                  <a:gd name="T21" fmla="*/ 356 h 407"/>
                  <a:gd name="T22" fmla="*/ 25 w 357"/>
                  <a:gd name="T23" fmla="*/ 118 h 407"/>
                  <a:gd name="T24" fmla="*/ 96 w 357"/>
                  <a:gd name="T25" fmla="*/ 118 h 407"/>
                  <a:gd name="T26" fmla="*/ 119 w 357"/>
                  <a:gd name="T27" fmla="*/ 113 h 407"/>
                  <a:gd name="T28" fmla="*/ 129 w 357"/>
                  <a:gd name="T29" fmla="*/ 92 h 407"/>
                  <a:gd name="T30" fmla="*/ 129 w 357"/>
                  <a:gd name="T31" fmla="*/ 25 h 407"/>
                  <a:gd name="T32" fmla="*/ 305 w 357"/>
                  <a:gd name="T33" fmla="*/ 25 h 407"/>
                  <a:gd name="T34" fmla="*/ 333 w 357"/>
                  <a:gd name="T35" fmla="*/ 53 h 407"/>
                  <a:gd name="T36" fmla="*/ 333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3" y="407"/>
                    </a:moveTo>
                    <a:cubicBezTo>
                      <a:pt x="357" y="407"/>
                      <a:pt x="357" y="407"/>
                      <a:pt x="357" y="407"/>
                    </a:cubicBezTo>
                    <a:cubicBezTo>
                      <a:pt x="357" y="39"/>
                      <a:pt x="357" y="39"/>
                      <a:pt x="357" y="39"/>
                    </a:cubicBezTo>
                    <a:cubicBezTo>
                      <a:pt x="357" y="16"/>
                      <a:pt x="334" y="0"/>
                      <a:pt x="316" y="0"/>
                    </a:cubicBezTo>
                    <a:cubicBezTo>
                      <a:pt x="116" y="0"/>
                      <a:pt x="116" y="0"/>
                      <a:pt x="116" y="0"/>
                    </a:cubicBezTo>
                    <a:cubicBezTo>
                      <a:pt x="86" y="26"/>
                      <a:pt x="47" y="64"/>
                      <a:pt x="0" y="103"/>
                    </a:cubicBezTo>
                    <a:cubicBezTo>
                      <a:pt x="0" y="367"/>
                      <a:pt x="0" y="367"/>
                      <a:pt x="0" y="367"/>
                    </a:cubicBezTo>
                    <a:cubicBezTo>
                      <a:pt x="0" y="392"/>
                      <a:pt x="22" y="407"/>
                      <a:pt x="41" y="407"/>
                    </a:cubicBezTo>
                    <a:cubicBezTo>
                      <a:pt x="333" y="407"/>
                      <a:pt x="333" y="407"/>
                      <a:pt x="333" y="407"/>
                    </a:cubicBezTo>
                    <a:close/>
                    <a:moveTo>
                      <a:pt x="52" y="384"/>
                    </a:moveTo>
                    <a:cubicBezTo>
                      <a:pt x="37" y="384"/>
                      <a:pt x="25" y="372"/>
                      <a:pt x="25" y="356"/>
                    </a:cubicBezTo>
                    <a:cubicBezTo>
                      <a:pt x="25" y="118"/>
                      <a:pt x="25" y="118"/>
                      <a:pt x="25" y="118"/>
                    </a:cubicBezTo>
                    <a:cubicBezTo>
                      <a:pt x="96" y="118"/>
                      <a:pt x="96" y="118"/>
                      <a:pt x="96" y="118"/>
                    </a:cubicBezTo>
                    <a:cubicBezTo>
                      <a:pt x="96" y="118"/>
                      <a:pt x="112" y="117"/>
                      <a:pt x="119" y="113"/>
                    </a:cubicBezTo>
                    <a:cubicBezTo>
                      <a:pt x="130" y="106"/>
                      <a:pt x="129" y="92"/>
                      <a:pt x="129" y="92"/>
                    </a:cubicBezTo>
                    <a:cubicBezTo>
                      <a:pt x="129" y="25"/>
                      <a:pt x="129" y="25"/>
                      <a:pt x="129" y="25"/>
                    </a:cubicBezTo>
                    <a:cubicBezTo>
                      <a:pt x="305" y="25"/>
                      <a:pt x="305" y="25"/>
                      <a:pt x="305" y="25"/>
                    </a:cubicBezTo>
                    <a:cubicBezTo>
                      <a:pt x="320" y="25"/>
                      <a:pt x="333" y="37"/>
                      <a:pt x="333" y="53"/>
                    </a:cubicBezTo>
                    <a:cubicBezTo>
                      <a:pt x="333" y="384"/>
                      <a:pt x="333" y="384"/>
                      <a:pt x="333" y="384"/>
                    </a:cubicBezTo>
                    <a:lnTo>
                      <a:pt x="52" y="384"/>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5" name="Freeform 22"/>
              <p:cNvSpPr>
                <a:spLocks/>
              </p:cNvSpPr>
              <p:nvPr/>
            </p:nvSpPr>
            <p:spPr bwMode="auto">
              <a:xfrm>
                <a:off x="6735299" y="4827666"/>
                <a:ext cx="21812" cy="40679"/>
              </a:xfrm>
              <a:custGeom>
                <a:avLst/>
                <a:gdLst>
                  <a:gd name="T0" fmla="*/ 46 w 46"/>
                  <a:gd name="T1" fmla="*/ 0 h 94"/>
                  <a:gd name="T2" fmla="*/ 0 w 46"/>
                  <a:gd name="T3" fmla="*/ 47 h 94"/>
                  <a:gd name="T4" fmla="*/ 46 w 46"/>
                  <a:gd name="T5" fmla="*/ 94 h 94"/>
                  <a:gd name="T6" fmla="*/ 46 w 46"/>
                  <a:gd name="T7" fmla="*/ 0 h 94"/>
                </a:gdLst>
                <a:ahLst/>
                <a:cxnLst>
                  <a:cxn ang="0">
                    <a:pos x="T0" y="T1"/>
                  </a:cxn>
                  <a:cxn ang="0">
                    <a:pos x="T2" y="T3"/>
                  </a:cxn>
                  <a:cxn ang="0">
                    <a:pos x="T4" y="T5"/>
                  </a:cxn>
                  <a:cxn ang="0">
                    <a:pos x="T6" y="T7"/>
                  </a:cxn>
                </a:cxnLst>
                <a:rect l="0" t="0" r="r" b="b"/>
                <a:pathLst>
                  <a:path w="46" h="94">
                    <a:moveTo>
                      <a:pt x="46" y="0"/>
                    </a:moveTo>
                    <a:lnTo>
                      <a:pt x="0" y="47"/>
                    </a:lnTo>
                    <a:lnTo>
                      <a:pt x="46" y="94"/>
                    </a:lnTo>
                    <a:lnTo>
                      <a:pt x="46" y="0"/>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6" name="Freeform 23"/>
              <p:cNvSpPr>
                <a:spLocks/>
              </p:cNvSpPr>
              <p:nvPr/>
            </p:nvSpPr>
            <p:spPr bwMode="auto">
              <a:xfrm>
                <a:off x="6768018" y="4827666"/>
                <a:ext cx="21812" cy="40679"/>
              </a:xfrm>
              <a:custGeom>
                <a:avLst/>
                <a:gdLst>
                  <a:gd name="T0" fmla="*/ 0 w 46"/>
                  <a:gd name="T1" fmla="*/ 94 h 94"/>
                  <a:gd name="T2" fmla="*/ 46 w 46"/>
                  <a:gd name="T3" fmla="*/ 47 h 94"/>
                  <a:gd name="T4" fmla="*/ 0 w 46"/>
                  <a:gd name="T5" fmla="*/ 0 h 94"/>
                  <a:gd name="T6" fmla="*/ 0 w 46"/>
                  <a:gd name="T7" fmla="*/ 94 h 94"/>
                </a:gdLst>
                <a:ahLst/>
                <a:cxnLst>
                  <a:cxn ang="0">
                    <a:pos x="T0" y="T1"/>
                  </a:cxn>
                  <a:cxn ang="0">
                    <a:pos x="T2" y="T3"/>
                  </a:cxn>
                  <a:cxn ang="0">
                    <a:pos x="T4" y="T5"/>
                  </a:cxn>
                  <a:cxn ang="0">
                    <a:pos x="T6" y="T7"/>
                  </a:cxn>
                </a:cxnLst>
                <a:rect l="0" t="0" r="r" b="b"/>
                <a:pathLst>
                  <a:path w="46" h="94">
                    <a:moveTo>
                      <a:pt x="0" y="94"/>
                    </a:moveTo>
                    <a:lnTo>
                      <a:pt x="46" y="47"/>
                    </a:lnTo>
                    <a:lnTo>
                      <a:pt x="0" y="0"/>
                    </a:lnTo>
                    <a:lnTo>
                      <a:pt x="0" y="94"/>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sp>
            <p:nvSpPr>
              <p:cNvPr id="77" name="Freeform 24"/>
              <p:cNvSpPr>
                <a:spLocks noEditPoints="1"/>
              </p:cNvSpPr>
              <p:nvPr/>
            </p:nvSpPr>
            <p:spPr bwMode="auto">
              <a:xfrm>
                <a:off x="6906005" y="4706928"/>
                <a:ext cx="41728" cy="90013"/>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rgbClr val="FFFFFF"/>
              </a:solidFill>
              <a:ln>
                <a:noFill/>
              </a:ln>
              <a:extLst/>
            </p:spPr>
            <p:txBody>
              <a:bodyPr vert="horz" wrap="square" lIns="89617" tIns="44808" rIns="89617" bIns="44808" numCol="1" anchor="t" anchorCtr="0" compatLnSpc="1">
                <a:prstTxWarp prst="textNoShape">
                  <a:avLst/>
                </a:prstTxWarp>
              </a:bodyPr>
              <a:lstStyle/>
              <a:p>
                <a:pPr algn="ctr" defTabSz="1065376">
                  <a:defRPr/>
                </a:pPr>
                <a:endParaRPr lang="en-US" sz="2157" kern="0">
                  <a:solidFill>
                    <a:srgbClr val="505050"/>
                  </a:solidFill>
                </a:endParaRPr>
              </a:p>
            </p:txBody>
          </p:sp>
        </p:grpSp>
        <p:sp>
          <p:nvSpPr>
            <p:cNvPr id="56" name="Freeform 357"/>
            <p:cNvSpPr>
              <a:spLocks noChangeAspect="1" noEditPoints="1"/>
            </p:cNvSpPr>
            <p:nvPr/>
          </p:nvSpPr>
          <p:spPr bwMode="auto">
            <a:xfrm>
              <a:off x="6485465" y="4017591"/>
              <a:ext cx="269079" cy="269083"/>
            </a:xfrm>
            <a:custGeom>
              <a:avLst/>
              <a:gdLst>
                <a:gd name="T0" fmla="*/ 200 w 400"/>
                <a:gd name="T1" fmla="*/ 400 h 400"/>
                <a:gd name="T2" fmla="*/ 200 w 400"/>
                <a:gd name="T3" fmla="*/ 0 h 400"/>
                <a:gd name="T4" fmla="*/ 96 w 400"/>
                <a:gd name="T5" fmla="*/ 190 h 400"/>
                <a:gd name="T6" fmla="*/ 43 w 400"/>
                <a:gd name="T7" fmla="*/ 111 h 400"/>
                <a:gd name="T8" fmla="*/ 96 w 400"/>
                <a:gd name="T9" fmla="*/ 190 h 400"/>
                <a:gd name="T10" fmla="*/ 131 w 400"/>
                <a:gd name="T11" fmla="*/ 111 h 400"/>
                <a:gd name="T12" fmla="*/ 190 w 400"/>
                <a:gd name="T13" fmla="*/ 190 h 400"/>
                <a:gd name="T14" fmla="*/ 190 w 400"/>
                <a:gd name="T15" fmla="*/ 20 h 400"/>
                <a:gd name="T16" fmla="*/ 190 w 400"/>
                <a:gd name="T17" fmla="*/ 91 h 400"/>
                <a:gd name="T18" fmla="*/ 56 w 400"/>
                <a:gd name="T19" fmla="*/ 91 h 400"/>
                <a:gd name="T20" fmla="*/ 158 w 400"/>
                <a:gd name="T21" fmla="*/ 24 h 400"/>
                <a:gd name="T22" fmla="*/ 380 w 400"/>
                <a:gd name="T23" fmla="*/ 190 h 400"/>
                <a:gd name="T24" fmla="*/ 290 w 400"/>
                <a:gd name="T25" fmla="*/ 111 h 400"/>
                <a:gd name="T26" fmla="*/ 380 w 400"/>
                <a:gd name="T27" fmla="*/ 190 h 400"/>
                <a:gd name="T28" fmla="*/ 284 w 400"/>
                <a:gd name="T29" fmla="*/ 190 h 400"/>
                <a:gd name="T30" fmla="*/ 210 w 400"/>
                <a:gd name="T31" fmla="*/ 111 h 400"/>
                <a:gd name="T32" fmla="*/ 210 w 400"/>
                <a:gd name="T33" fmla="*/ 91 h 400"/>
                <a:gd name="T34" fmla="*/ 210 w 400"/>
                <a:gd name="T35" fmla="*/ 20 h 400"/>
                <a:gd name="T36" fmla="*/ 242 w 400"/>
                <a:gd name="T37" fmla="*/ 24 h 400"/>
                <a:gd name="T38" fmla="*/ 344 w 400"/>
                <a:gd name="T39" fmla="*/ 91 h 400"/>
                <a:gd name="T40" fmla="*/ 20 w 400"/>
                <a:gd name="T41" fmla="*/ 210 h 400"/>
                <a:gd name="T42" fmla="*/ 110 w 400"/>
                <a:gd name="T43" fmla="*/ 289 h 400"/>
                <a:gd name="T44" fmla="*/ 20 w 400"/>
                <a:gd name="T45" fmla="*/ 210 h 400"/>
                <a:gd name="T46" fmla="*/ 116 w 400"/>
                <a:gd name="T47" fmla="*/ 210 h 400"/>
                <a:gd name="T48" fmla="*/ 190 w 400"/>
                <a:gd name="T49" fmla="*/ 289 h 400"/>
                <a:gd name="T50" fmla="*/ 190 w 400"/>
                <a:gd name="T51" fmla="*/ 309 h 400"/>
                <a:gd name="T52" fmla="*/ 190 w 400"/>
                <a:gd name="T53" fmla="*/ 380 h 400"/>
                <a:gd name="T54" fmla="*/ 158 w 400"/>
                <a:gd name="T55" fmla="*/ 376 h 400"/>
                <a:gd name="T56" fmla="*/ 56 w 400"/>
                <a:gd name="T57" fmla="*/ 309 h 400"/>
                <a:gd name="T58" fmla="*/ 304 w 400"/>
                <a:gd name="T59" fmla="*/ 210 h 400"/>
                <a:gd name="T60" fmla="*/ 357 w 400"/>
                <a:gd name="T61" fmla="*/ 289 h 400"/>
                <a:gd name="T62" fmla="*/ 304 w 400"/>
                <a:gd name="T63" fmla="*/ 210 h 400"/>
                <a:gd name="T64" fmla="*/ 269 w 400"/>
                <a:gd name="T65" fmla="*/ 289 h 400"/>
                <a:gd name="T66" fmla="*/ 210 w 400"/>
                <a:gd name="T67" fmla="*/ 210 h 400"/>
                <a:gd name="T68" fmla="*/ 210 w 400"/>
                <a:gd name="T69" fmla="*/ 380 h 400"/>
                <a:gd name="T70" fmla="*/ 210 w 400"/>
                <a:gd name="T71" fmla="*/ 309 h 400"/>
                <a:gd name="T72" fmla="*/ 344 w 400"/>
                <a:gd name="T73" fmla="*/ 309 h 400"/>
                <a:gd name="T74" fmla="*/ 242 w 400"/>
                <a:gd name="T75" fmla="*/ 37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400">
                  <a:moveTo>
                    <a:pt x="400" y="200"/>
                  </a:moveTo>
                  <a:cubicBezTo>
                    <a:pt x="400" y="310"/>
                    <a:pt x="310" y="400"/>
                    <a:pt x="200" y="400"/>
                  </a:cubicBezTo>
                  <a:cubicBezTo>
                    <a:pt x="90" y="400"/>
                    <a:pt x="0" y="310"/>
                    <a:pt x="0" y="200"/>
                  </a:cubicBezTo>
                  <a:cubicBezTo>
                    <a:pt x="0" y="90"/>
                    <a:pt x="90" y="0"/>
                    <a:pt x="200" y="0"/>
                  </a:cubicBezTo>
                  <a:cubicBezTo>
                    <a:pt x="310" y="0"/>
                    <a:pt x="400" y="90"/>
                    <a:pt x="400" y="200"/>
                  </a:cubicBezTo>
                  <a:close/>
                  <a:moveTo>
                    <a:pt x="96" y="190"/>
                  </a:moveTo>
                  <a:cubicBezTo>
                    <a:pt x="97" y="162"/>
                    <a:pt x="102" y="135"/>
                    <a:pt x="110" y="111"/>
                  </a:cubicBezTo>
                  <a:cubicBezTo>
                    <a:pt x="43" y="111"/>
                    <a:pt x="43" y="111"/>
                    <a:pt x="43" y="111"/>
                  </a:cubicBezTo>
                  <a:cubicBezTo>
                    <a:pt x="30" y="134"/>
                    <a:pt x="21" y="161"/>
                    <a:pt x="20" y="190"/>
                  </a:cubicBezTo>
                  <a:lnTo>
                    <a:pt x="96" y="190"/>
                  </a:lnTo>
                  <a:close/>
                  <a:moveTo>
                    <a:pt x="190" y="111"/>
                  </a:moveTo>
                  <a:cubicBezTo>
                    <a:pt x="131" y="111"/>
                    <a:pt x="131" y="111"/>
                    <a:pt x="131" y="111"/>
                  </a:cubicBezTo>
                  <a:cubicBezTo>
                    <a:pt x="122" y="135"/>
                    <a:pt x="117" y="162"/>
                    <a:pt x="116" y="190"/>
                  </a:cubicBezTo>
                  <a:cubicBezTo>
                    <a:pt x="190" y="190"/>
                    <a:pt x="190" y="190"/>
                    <a:pt x="190" y="190"/>
                  </a:cubicBezTo>
                  <a:cubicBezTo>
                    <a:pt x="190" y="111"/>
                    <a:pt x="190" y="111"/>
                    <a:pt x="190" y="111"/>
                  </a:cubicBezTo>
                  <a:close/>
                  <a:moveTo>
                    <a:pt x="190" y="20"/>
                  </a:moveTo>
                  <a:cubicBezTo>
                    <a:pt x="169" y="39"/>
                    <a:pt x="151" y="63"/>
                    <a:pt x="139" y="91"/>
                  </a:cubicBezTo>
                  <a:cubicBezTo>
                    <a:pt x="190" y="91"/>
                    <a:pt x="190" y="91"/>
                    <a:pt x="190" y="91"/>
                  </a:cubicBezTo>
                  <a:lnTo>
                    <a:pt x="190" y="20"/>
                  </a:lnTo>
                  <a:close/>
                  <a:moveTo>
                    <a:pt x="56" y="91"/>
                  </a:moveTo>
                  <a:cubicBezTo>
                    <a:pt x="117" y="91"/>
                    <a:pt x="117" y="91"/>
                    <a:pt x="117" y="91"/>
                  </a:cubicBezTo>
                  <a:cubicBezTo>
                    <a:pt x="128" y="66"/>
                    <a:pt x="142" y="43"/>
                    <a:pt x="158" y="24"/>
                  </a:cubicBezTo>
                  <a:cubicBezTo>
                    <a:pt x="116" y="34"/>
                    <a:pt x="80" y="59"/>
                    <a:pt x="56" y="91"/>
                  </a:cubicBezTo>
                  <a:close/>
                  <a:moveTo>
                    <a:pt x="380" y="190"/>
                  </a:moveTo>
                  <a:cubicBezTo>
                    <a:pt x="379" y="161"/>
                    <a:pt x="370" y="134"/>
                    <a:pt x="357" y="111"/>
                  </a:cubicBezTo>
                  <a:cubicBezTo>
                    <a:pt x="290" y="111"/>
                    <a:pt x="290" y="111"/>
                    <a:pt x="290" y="111"/>
                  </a:cubicBezTo>
                  <a:cubicBezTo>
                    <a:pt x="298" y="135"/>
                    <a:pt x="303" y="162"/>
                    <a:pt x="304" y="190"/>
                  </a:cubicBezTo>
                  <a:lnTo>
                    <a:pt x="380" y="190"/>
                  </a:lnTo>
                  <a:close/>
                  <a:moveTo>
                    <a:pt x="210" y="190"/>
                  </a:moveTo>
                  <a:cubicBezTo>
                    <a:pt x="284" y="190"/>
                    <a:pt x="284" y="190"/>
                    <a:pt x="284" y="190"/>
                  </a:cubicBezTo>
                  <a:cubicBezTo>
                    <a:pt x="283" y="162"/>
                    <a:pt x="278" y="135"/>
                    <a:pt x="269" y="111"/>
                  </a:cubicBezTo>
                  <a:cubicBezTo>
                    <a:pt x="210" y="111"/>
                    <a:pt x="210" y="111"/>
                    <a:pt x="210" y="111"/>
                  </a:cubicBezTo>
                  <a:lnTo>
                    <a:pt x="210" y="190"/>
                  </a:lnTo>
                  <a:close/>
                  <a:moveTo>
                    <a:pt x="210" y="91"/>
                  </a:moveTo>
                  <a:cubicBezTo>
                    <a:pt x="261" y="91"/>
                    <a:pt x="261" y="91"/>
                    <a:pt x="261" y="91"/>
                  </a:cubicBezTo>
                  <a:cubicBezTo>
                    <a:pt x="249" y="63"/>
                    <a:pt x="231" y="39"/>
                    <a:pt x="210" y="20"/>
                  </a:cubicBezTo>
                  <a:lnTo>
                    <a:pt x="210" y="91"/>
                  </a:lnTo>
                  <a:close/>
                  <a:moveTo>
                    <a:pt x="242" y="24"/>
                  </a:moveTo>
                  <a:cubicBezTo>
                    <a:pt x="258" y="43"/>
                    <a:pt x="272" y="66"/>
                    <a:pt x="283" y="91"/>
                  </a:cubicBezTo>
                  <a:cubicBezTo>
                    <a:pt x="344" y="91"/>
                    <a:pt x="344" y="91"/>
                    <a:pt x="344" y="91"/>
                  </a:cubicBezTo>
                  <a:cubicBezTo>
                    <a:pt x="320" y="59"/>
                    <a:pt x="284" y="34"/>
                    <a:pt x="242" y="24"/>
                  </a:cubicBezTo>
                  <a:close/>
                  <a:moveTo>
                    <a:pt x="20" y="210"/>
                  </a:moveTo>
                  <a:cubicBezTo>
                    <a:pt x="21" y="239"/>
                    <a:pt x="30" y="266"/>
                    <a:pt x="43" y="289"/>
                  </a:cubicBezTo>
                  <a:cubicBezTo>
                    <a:pt x="110" y="289"/>
                    <a:pt x="110" y="289"/>
                    <a:pt x="110" y="289"/>
                  </a:cubicBezTo>
                  <a:cubicBezTo>
                    <a:pt x="102" y="265"/>
                    <a:pt x="97" y="238"/>
                    <a:pt x="96" y="210"/>
                  </a:cubicBezTo>
                  <a:cubicBezTo>
                    <a:pt x="20" y="210"/>
                    <a:pt x="20" y="210"/>
                    <a:pt x="20" y="210"/>
                  </a:cubicBezTo>
                  <a:close/>
                  <a:moveTo>
                    <a:pt x="190" y="210"/>
                  </a:moveTo>
                  <a:cubicBezTo>
                    <a:pt x="116" y="210"/>
                    <a:pt x="116" y="210"/>
                    <a:pt x="116" y="210"/>
                  </a:cubicBezTo>
                  <a:cubicBezTo>
                    <a:pt x="117" y="238"/>
                    <a:pt x="122" y="265"/>
                    <a:pt x="131" y="289"/>
                  </a:cubicBezTo>
                  <a:cubicBezTo>
                    <a:pt x="190" y="289"/>
                    <a:pt x="190" y="289"/>
                    <a:pt x="190" y="289"/>
                  </a:cubicBezTo>
                  <a:lnTo>
                    <a:pt x="190" y="210"/>
                  </a:lnTo>
                  <a:close/>
                  <a:moveTo>
                    <a:pt x="190" y="309"/>
                  </a:moveTo>
                  <a:cubicBezTo>
                    <a:pt x="139" y="309"/>
                    <a:pt x="139" y="309"/>
                    <a:pt x="139" y="309"/>
                  </a:cubicBezTo>
                  <a:cubicBezTo>
                    <a:pt x="151" y="337"/>
                    <a:pt x="169" y="361"/>
                    <a:pt x="190" y="380"/>
                  </a:cubicBezTo>
                  <a:cubicBezTo>
                    <a:pt x="190" y="309"/>
                    <a:pt x="190" y="309"/>
                    <a:pt x="190" y="309"/>
                  </a:cubicBezTo>
                  <a:close/>
                  <a:moveTo>
                    <a:pt x="158" y="376"/>
                  </a:moveTo>
                  <a:cubicBezTo>
                    <a:pt x="142" y="357"/>
                    <a:pt x="128" y="334"/>
                    <a:pt x="117" y="309"/>
                  </a:cubicBezTo>
                  <a:cubicBezTo>
                    <a:pt x="56" y="309"/>
                    <a:pt x="56" y="309"/>
                    <a:pt x="56" y="309"/>
                  </a:cubicBezTo>
                  <a:cubicBezTo>
                    <a:pt x="80" y="341"/>
                    <a:pt x="116" y="366"/>
                    <a:pt x="158" y="376"/>
                  </a:cubicBezTo>
                  <a:close/>
                  <a:moveTo>
                    <a:pt x="304" y="210"/>
                  </a:moveTo>
                  <a:cubicBezTo>
                    <a:pt x="303" y="238"/>
                    <a:pt x="298" y="265"/>
                    <a:pt x="290" y="289"/>
                  </a:cubicBezTo>
                  <a:cubicBezTo>
                    <a:pt x="357" y="289"/>
                    <a:pt x="357" y="289"/>
                    <a:pt x="357" y="289"/>
                  </a:cubicBezTo>
                  <a:cubicBezTo>
                    <a:pt x="370" y="266"/>
                    <a:pt x="379" y="239"/>
                    <a:pt x="380" y="210"/>
                  </a:cubicBezTo>
                  <a:cubicBezTo>
                    <a:pt x="304" y="210"/>
                    <a:pt x="304" y="210"/>
                    <a:pt x="304" y="210"/>
                  </a:cubicBezTo>
                  <a:close/>
                  <a:moveTo>
                    <a:pt x="210" y="289"/>
                  </a:moveTo>
                  <a:cubicBezTo>
                    <a:pt x="269" y="289"/>
                    <a:pt x="269" y="289"/>
                    <a:pt x="269" y="289"/>
                  </a:cubicBezTo>
                  <a:cubicBezTo>
                    <a:pt x="278" y="265"/>
                    <a:pt x="283" y="238"/>
                    <a:pt x="284" y="210"/>
                  </a:cubicBezTo>
                  <a:cubicBezTo>
                    <a:pt x="210" y="210"/>
                    <a:pt x="210" y="210"/>
                    <a:pt x="210" y="210"/>
                  </a:cubicBezTo>
                  <a:lnTo>
                    <a:pt x="210" y="289"/>
                  </a:lnTo>
                  <a:close/>
                  <a:moveTo>
                    <a:pt x="210" y="380"/>
                  </a:moveTo>
                  <a:cubicBezTo>
                    <a:pt x="231" y="361"/>
                    <a:pt x="249" y="337"/>
                    <a:pt x="261" y="309"/>
                  </a:cubicBezTo>
                  <a:cubicBezTo>
                    <a:pt x="210" y="309"/>
                    <a:pt x="210" y="309"/>
                    <a:pt x="210" y="309"/>
                  </a:cubicBezTo>
                  <a:lnTo>
                    <a:pt x="210" y="380"/>
                  </a:lnTo>
                  <a:close/>
                  <a:moveTo>
                    <a:pt x="344" y="309"/>
                  </a:moveTo>
                  <a:cubicBezTo>
                    <a:pt x="283" y="309"/>
                    <a:pt x="283" y="309"/>
                    <a:pt x="283" y="309"/>
                  </a:cubicBezTo>
                  <a:cubicBezTo>
                    <a:pt x="272" y="334"/>
                    <a:pt x="258" y="357"/>
                    <a:pt x="242" y="376"/>
                  </a:cubicBezTo>
                  <a:cubicBezTo>
                    <a:pt x="284" y="366"/>
                    <a:pt x="320" y="341"/>
                    <a:pt x="344" y="309"/>
                  </a:cubicBezTo>
                  <a:close/>
                </a:path>
              </a:pathLst>
            </a:custGeom>
            <a:solidFill>
              <a:srgbClr val="FFFFFF"/>
            </a:solidFill>
            <a:ln>
              <a:noFill/>
            </a:ln>
            <a:extLst/>
          </p:spPr>
          <p:txBody>
            <a:bodyPr vert="horz" wrap="square" lIns="87773" tIns="43885" rIns="87773" bIns="43885" numCol="1" anchor="t" anchorCtr="0" compatLnSpc="1">
              <a:prstTxWarp prst="textNoShape">
                <a:avLst/>
              </a:prstTxWarp>
            </a:bodyPr>
            <a:lstStyle/>
            <a:p>
              <a:pPr defTabSz="877397">
                <a:defRPr/>
              </a:pPr>
              <a:endParaRPr lang="en-US" sz="2157" kern="0">
                <a:solidFill>
                  <a:srgbClr val="FFFFFF"/>
                </a:solidFill>
              </a:endParaRPr>
            </a:p>
          </p:txBody>
        </p:sp>
        <p:sp>
          <p:nvSpPr>
            <p:cNvPr id="57" name="Freeform 99"/>
            <p:cNvSpPr>
              <a:spLocks noEditPoints="1"/>
            </p:cNvSpPr>
            <p:nvPr/>
          </p:nvSpPr>
          <p:spPr bwMode="black">
            <a:xfrm>
              <a:off x="7100558" y="4017591"/>
              <a:ext cx="327871" cy="27249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p:spPr>
          <p:txBody>
            <a:bodyPr vert="horz" wrap="square" lIns="87773" tIns="43885" rIns="87773" bIns="43885" numCol="1" anchor="t" anchorCtr="0" compatLnSpc="1">
              <a:prstTxWarp prst="textNoShape">
                <a:avLst/>
              </a:prstTxWarp>
            </a:bodyPr>
            <a:lstStyle/>
            <a:p>
              <a:pPr defTabSz="756212">
                <a:defRPr/>
              </a:pPr>
              <a:endParaRPr lang="en-US" sz="2157" kern="0" dirty="0">
                <a:solidFill>
                  <a:srgbClr val="505050"/>
                </a:solidFill>
              </a:endParaRPr>
            </a:p>
          </p:txBody>
        </p:sp>
      </p:grpSp>
    </p:spTree>
    <p:extLst>
      <p:ext uri="{BB962C8B-B14F-4D97-AF65-F5344CB8AC3E}">
        <p14:creationId xmlns:p14="http://schemas.microsoft.com/office/powerpoint/2010/main" val="2982762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fade">
                                      <p:cBhvr>
                                        <p:cTn id="10" dur="500"/>
                                        <p:tgtEl>
                                          <p:spTgt spid="53"/>
                                        </p:tgtEl>
                                      </p:cBhvr>
                                    </p:animEffect>
                                  </p:childTnLst>
                                </p:cTn>
                              </p:par>
                            </p:childTnLst>
                          </p:cTn>
                        </p:par>
                        <p:par>
                          <p:cTn id="11" fill="hold">
                            <p:stCondLst>
                              <p:cond delay="500"/>
                            </p:stCondLst>
                            <p:childTnLst>
                              <p:par>
                                <p:cTn id="12" presetID="42" presetClass="path" presetSubtype="0" accel="50000" decel="50000" fill="hold" nodeType="afterEffect">
                                  <p:stCondLst>
                                    <p:cond delay="0"/>
                                  </p:stCondLst>
                                  <p:childTnLst>
                                    <p:animMotion origin="layout" path="M 8.33333E-7 4.81481E-6 L 0.20677 0.00162 " pathEditMode="relative" rAng="0" ptsTypes="AA">
                                      <p:cBhvr>
                                        <p:cTn id="13" dur="2000" fill="hold"/>
                                        <p:tgtEl>
                                          <p:spTgt spid="23"/>
                                        </p:tgtEl>
                                        <p:attrNameLst>
                                          <p:attrName>ppt_x</p:attrName>
                                          <p:attrName>ppt_y</p:attrName>
                                        </p:attrNameLst>
                                      </p:cBhvr>
                                      <p:rCtr x="10339"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286381"/>
            <a:ext cx="11151917" cy="794064"/>
          </a:xfrm>
        </p:spPr>
        <p:txBody>
          <a:bodyPr/>
          <a:lstStyle/>
          <a:p>
            <a:r>
              <a:rPr lang="en-US" altLang="zh-TW" sz="4400" dirty="0" smtClean="0"/>
              <a:t>Windows Azure </a:t>
            </a:r>
            <a:r>
              <a:rPr lang="en-US" altLang="zh-TW" sz="4400" dirty="0"/>
              <a:t>Pack</a:t>
            </a:r>
            <a:r>
              <a:rPr lang="zh-TW" altLang="en-US" sz="4400" dirty="0"/>
              <a:t>使用情境</a:t>
            </a:r>
          </a:p>
        </p:txBody>
      </p:sp>
      <p:sp>
        <p:nvSpPr>
          <p:cNvPr id="4" name="Footer Placeholder 3"/>
          <p:cNvSpPr>
            <a:spLocks noGrp="1"/>
          </p:cNvSpPr>
          <p:nvPr>
            <p:ph type="ftr" sz="quarter" idx="3"/>
          </p:nvPr>
        </p:nvSpPr>
        <p:spPr/>
        <p:txBody>
          <a:bodyPr/>
          <a:lstStyle/>
          <a:p>
            <a:pPr defTabSz="914133"/>
            <a:r>
              <a:rPr lang="en-US" smtClean="0"/>
              <a:t>T-SQL Enhancements in SQL Server 2012</a:t>
            </a:r>
            <a:endParaRPr lang="en-US" dirty="0"/>
          </a:p>
        </p:txBody>
      </p:sp>
      <p:sp>
        <p:nvSpPr>
          <p:cNvPr id="5" name="Slide Number Placeholder 4"/>
          <p:cNvSpPr>
            <a:spLocks noGrp="1"/>
          </p:cNvSpPr>
          <p:nvPr>
            <p:ph type="sldNum" sz="quarter" idx="4"/>
          </p:nvPr>
        </p:nvSpPr>
        <p:spPr/>
        <p:txBody>
          <a:bodyPr/>
          <a:lstStyle/>
          <a:p>
            <a:pPr defTabSz="914133"/>
            <a:fld id="{87FD5303-69AD-2E4D-B18B-E5EED0F0A60B}" type="slidenum">
              <a:rPr lang="en-US" smtClean="0"/>
              <a:pPr defTabSz="914133"/>
              <a:t>17</a:t>
            </a:fld>
            <a:r>
              <a:rPr lang="en-US" smtClean="0"/>
              <a:t>  |  </a:t>
            </a:r>
            <a:endParaRPr lang="en-US" dirty="0"/>
          </a:p>
        </p:txBody>
      </p:sp>
      <p:cxnSp>
        <p:nvCxnSpPr>
          <p:cNvPr id="53" name="Straight Connector 52"/>
          <p:cNvCxnSpPr/>
          <p:nvPr/>
        </p:nvCxnSpPr>
        <p:spPr>
          <a:xfrm>
            <a:off x="3088216" y="2474798"/>
            <a:ext cx="1" cy="251210"/>
          </a:xfrm>
          <a:prstGeom prst="line">
            <a:avLst/>
          </a:prstGeom>
          <a:noFill/>
          <a:ln w="38100" cap="flat" cmpd="sng" algn="ctr">
            <a:solidFill>
              <a:srgbClr val="000000"/>
            </a:solidFill>
            <a:prstDash val="solid"/>
            <a:headEnd type="none"/>
            <a:tailEnd type="none"/>
          </a:ln>
          <a:effectLst/>
        </p:spPr>
      </p:cxnSp>
      <p:cxnSp>
        <p:nvCxnSpPr>
          <p:cNvPr id="54" name="Straight Connector 53"/>
          <p:cNvCxnSpPr/>
          <p:nvPr/>
        </p:nvCxnSpPr>
        <p:spPr>
          <a:xfrm>
            <a:off x="8824186" y="2475452"/>
            <a:ext cx="1" cy="251210"/>
          </a:xfrm>
          <a:prstGeom prst="line">
            <a:avLst/>
          </a:prstGeom>
          <a:noFill/>
          <a:ln w="38100" cap="flat" cmpd="sng" algn="ctr">
            <a:solidFill>
              <a:srgbClr val="000000"/>
            </a:solidFill>
            <a:prstDash val="solid"/>
            <a:headEnd type="none"/>
            <a:tailEnd type="none"/>
          </a:ln>
          <a:effectLst/>
        </p:spPr>
      </p:cxnSp>
      <p:sp>
        <p:nvSpPr>
          <p:cNvPr id="55" name="Rectangle 54"/>
          <p:cNvSpPr/>
          <p:nvPr/>
        </p:nvSpPr>
        <p:spPr bwMode="auto">
          <a:xfrm>
            <a:off x="2411034" y="1372188"/>
            <a:ext cx="7087569" cy="566509"/>
          </a:xfrm>
          <a:prstGeom prst="rect">
            <a:avLst/>
          </a:prstGeom>
          <a:solidFill>
            <a:srgbClr val="0072C6"/>
          </a:solidFill>
          <a:ln w="10795" cap="flat" cmpd="sng" algn="ctr">
            <a:noFill/>
            <a:prstDash val="solid"/>
            <a:headEnd type="none" w="med" len="med"/>
            <a:tailEnd type="none" w="med" len="med"/>
          </a:ln>
          <a:effectLst/>
        </p:spPr>
        <p:txBody>
          <a:bodyPr vert="horz" wrap="square" lIns="182693" tIns="45626" rIns="182511" bIns="45626" numCol="1" rtlCol="0" anchor="ctr"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r>
              <a:rPr kumimoji="0" lang="zh-TW" altLang="en-US" sz="1961"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管理介面</a:t>
            </a:r>
            <a:r>
              <a:rPr kumimoji="0" lang="en-US" sz="1961"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Management Portal</a:t>
            </a:r>
          </a:p>
        </p:txBody>
      </p:sp>
      <p:grpSp>
        <p:nvGrpSpPr>
          <p:cNvPr id="56" name="Group 55"/>
          <p:cNvGrpSpPr/>
          <p:nvPr/>
        </p:nvGrpSpPr>
        <p:grpSpPr>
          <a:xfrm>
            <a:off x="2416131" y="2711759"/>
            <a:ext cx="1344169" cy="3543394"/>
            <a:chOff x="392209" y="2765575"/>
            <a:chExt cx="1371316" cy="3614958"/>
          </a:xfrm>
        </p:grpSpPr>
        <p:sp>
          <p:nvSpPr>
            <p:cNvPr id="57" name="Rectangle 56"/>
            <p:cNvSpPr/>
            <p:nvPr/>
          </p:nvSpPr>
          <p:spPr bwMode="auto">
            <a:xfrm>
              <a:off x="392209" y="2765575"/>
              <a:ext cx="1371316" cy="2002234"/>
            </a:xfrm>
            <a:prstGeom prst="rect">
              <a:avLst/>
            </a:prstGeom>
            <a:solidFill>
              <a:srgbClr val="0072C6"/>
            </a:solidFill>
            <a:ln w="10795" cap="flat" cmpd="sng" algn="ctr">
              <a:noFill/>
              <a:prstDash val="solid"/>
              <a:headEnd type="none" w="med" len="med"/>
              <a:tailEnd type="none" w="med" len="med"/>
            </a:ln>
            <a:effectLst/>
          </p:spPr>
          <p:txBody>
            <a:bodyPr vert="horz" wrap="square" lIns="91250" tIns="45626" rIns="182511" bIns="45626" numCol="1" rtlCol="0" anchor="t"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endPar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endParaRPr>
            </a:p>
            <a:p>
              <a:pPr marL="0" marR="0" lvl="0" indent="0" algn="ctr" defTabSz="912148" eaLnBrk="1" fontAlgn="base" latinLnBrk="0" hangingPunct="1">
                <a:lnSpc>
                  <a:spcPct val="90000"/>
                </a:lnSpc>
                <a:spcBef>
                  <a:spcPct val="0"/>
                </a:spcBef>
                <a:spcAft>
                  <a:spcPct val="0"/>
                </a:spcAft>
                <a:buClrTx/>
                <a:buSzTx/>
                <a:buFontTx/>
                <a:buNone/>
                <a:tabLst/>
                <a:defRPr/>
              </a:pPr>
              <a:r>
                <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Web sites</a:t>
              </a:r>
            </a:p>
          </p:txBody>
        </p:sp>
        <p:sp>
          <p:nvSpPr>
            <p:cNvPr id="58" name="Rectangle 57"/>
            <p:cNvSpPr/>
            <p:nvPr/>
          </p:nvSpPr>
          <p:spPr bwMode="auto">
            <a:xfrm>
              <a:off x="392209" y="4574559"/>
              <a:ext cx="1371315" cy="1805974"/>
            </a:xfrm>
            <a:prstGeom prst="rect">
              <a:avLst/>
            </a:prstGeom>
            <a:solidFill>
              <a:srgbClr val="00BCF2"/>
            </a:solidFill>
            <a:ln w="10795" cap="flat" cmpd="sng" algn="ctr">
              <a:noFill/>
              <a:prstDash val="solid"/>
              <a:headEnd type="none" w="med" len="med"/>
              <a:tailEnd type="none" w="med" len="med"/>
            </a:ln>
            <a:effectLst/>
          </p:spPr>
          <p:txBody>
            <a:bodyPr vert="horz" wrap="square" lIns="182511" tIns="456270" rIns="182511" bIns="45626" numCol="1" rtlCol="0" anchor="t" anchorCtr="0" compatLnSpc="1">
              <a:prstTxWarp prst="textNoShape">
                <a:avLst/>
              </a:prstTxWarp>
            </a:bodyPr>
            <a:lstStyle/>
            <a:p>
              <a:pPr marL="0" marR="0" lvl="0" indent="0" algn="ctr" defTabSz="912148" eaLnBrk="1" fontAlgn="base" latinLnBrk="0" hangingPunct="1">
                <a:lnSpc>
                  <a:spcPct val="100000"/>
                </a:lnSpc>
                <a:spcBef>
                  <a:spcPct val="0"/>
                </a:spcBef>
                <a:spcAft>
                  <a:spcPct val="0"/>
                </a:spcAft>
                <a:buClrTx/>
                <a:buSzTx/>
                <a:buFontTx/>
                <a:buNone/>
                <a:tabLst/>
                <a:defRPr/>
              </a:pPr>
              <a:r>
                <a:rPr kumimoji="0" lang="zh-TW" alt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網站雲</a:t>
              </a:r>
              <a:r>
                <a:rPr kumimoji="0" lang="en-US" altLang="zh-TW"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
              </a:r>
              <a:br>
                <a:rPr kumimoji="0" lang="en-US" altLang="zh-TW"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br>
              <a:r>
                <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a:t>
              </a:r>
              <a:r>
                <a:rPr kumimoji="0" lang="en-US" sz="1371" b="0" i="0" u="none" strike="noStrike" kern="0" cap="none" spc="-50" normalizeH="0" baseline="0" noProof="0" dirty="0" err="1" smtClean="0">
                  <a:ln>
                    <a:noFill/>
                  </a:ln>
                  <a:solidFill>
                    <a:srgbClr val="FFFFFE"/>
                  </a:solidFill>
                  <a:effectLst/>
                  <a:uLnTx/>
                  <a:uFillTx/>
                  <a:latin typeface="Segoe UI"/>
                  <a:ea typeface="Segoe UI" pitchFamily="34" charset="0"/>
                  <a:cs typeface="Segoe UI" pitchFamily="34" charset="0"/>
                </a:rPr>
                <a:t>PaaS</a:t>
              </a:r>
              <a:r>
                <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a:t>
              </a:r>
            </a:p>
          </p:txBody>
        </p:sp>
        <p:sp>
          <p:nvSpPr>
            <p:cNvPr id="59" name="Freeform 357"/>
            <p:cNvSpPr>
              <a:spLocks noChangeAspect="1" noEditPoints="1"/>
            </p:cNvSpPr>
            <p:nvPr/>
          </p:nvSpPr>
          <p:spPr bwMode="auto">
            <a:xfrm>
              <a:off x="648085" y="3499164"/>
              <a:ext cx="832681" cy="832693"/>
            </a:xfrm>
            <a:custGeom>
              <a:avLst/>
              <a:gdLst>
                <a:gd name="T0" fmla="*/ 200 w 400"/>
                <a:gd name="T1" fmla="*/ 400 h 400"/>
                <a:gd name="T2" fmla="*/ 200 w 400"/>
                <a:gd name="T3" fmla="*/ 0 h 400"/>
                <a:gd name="T4" fmla="*/ 96 w 400"/>
                <a:gd name="T5" fmla="*/ 190 h 400"/>
                <a:gd name="T6" fmla="*/ 43 w 400"/>
                <a:gd name="T7" fmla="*/ 111 h 400"/>
                <a:gd name="T8" fmla="*/ 96 w 400"/>
                <a:gd name="T9" fmla="*/ 190 h 400"/>
                <a:gd name="T10" fmla="*/ 131 w 400"/>
                <a:gd name="T11" fmla="*/ 111 h 400"/>
                <a:gd name="T12" fmla="*/ 190 w 400"/>
                <a:gd name="T13" fmla="*/ 190 h 400"/>
                <a:gd name="T14" fmla="*/ 190 w 400"/>
                <a:gd name="T15" fmla="*/ 20 h 400"/>
                <a:gd name="T16" fmla="*/ 190 w 400"/>
                <a:gd name="T17" fmla="*/ 91 h 400"/>
                <a:gd name="T18" fmla="*/ 56 w 400"/>
                <a:gd name="T19" fmla="*/ 91 h 400"/>
                <a:gd name="T20" fmla="*/ 158 w 400"/>
                <a:gd name="T21" fmla="*/ 24 h 400"/>
                <a:gd name="T22" fmla="*/ 380 w 400"/>
                <a:gd name="T23" fmla="*/ 190 h 400"/>
                <a:gd name="T24" fmla="*/ 290 w 400"/>
                <a:gd name="T25" fmla="*/ 111 h 400"/>
                <a:gd name="T26" fmla="*/ 380 w 400"/>
                <a:gd name="T27" fmla="*/ 190 h 400"/>
                <a:gd name="T28" fmla="*/ 284 w 400"/>
                <a:gd name="T29" fmla="*/ 190 h 400"/>
                <a:gd name="T30" fmla="*/ 210 w 400"/>
                <a:gd name="T31" fmla="*/ 111 h 400"/>
                <a:gd name="T32" fmla="*/ 210 w 400"/>
                <a:gd name="T33" fmla="*/ 91 h 400"/>
                <a:gd name="T34" fmla="*/ 210 w 400"/>
                <a:gd name="T35" fmla="*/ 20 h 400"/>
                <a:gd name="T36" fmla="*/ 242 w 400"/>
                <a:gd name="T37" fmla="*/ 24 h 400"/>
                <a:gd name="T38" fmla="*/ 344 w 400"/>
                <a:gd name="T39" fmla="*/ 91 h 400"/>
                <a:gd name="T40" fmla="*/ 20 w 400"/>
                <a:gd name="T41" fmla="*/ 210 h 400"/>
                <a:gd name="T42" fmla="*/ 110 w 400"/>
                <a:gd name="T43" fmla="*/ 289 h 400"/>
                <a:gd name="T44" fmla="*/ 20 w 400"/>
                <a:gd name="T45" fmla="*/ 210 h 400"/>
                <a:gd name="T46" fmla="*/ 116 w 400"/>
                <a:gd name="T47" fmla="*/ 210 h 400"/>
                <a:gd name="T48" fmla="*/ 190 w 400"/>
                <a:gd name="T49" fmla="*/ 289 h 400"/>
                <a:gd name="T50" fmla="*/ 190 w 400"/>
                <a:gd name="T51" fmla="*/ 309 h 400"/>
                <a:gd name="T52" fmla="*/ 190 w 400"/>
                <a:gd name="T53" fmla="*/ 380 h 400"/>
                <a:gd name="T54" fmla="*/ 158 w 400"/>
                <a:gd name="T55" fmla="*/ 376 h 400"/>
                <a:gd name="T56" fmla="*/ 56 w 400"/>
                <a:gd name="T57" fmla="*/ 309 h 400"/>
                <a:gd name="T58" fmla="*/ 304 w 400"/>
                <a:gd name="T59" fmla="*/ 210 h 400"/>
                <a:gd name="T60" fmla="*/ 357 w 400"/>
                <a:gd name="T61" fmla="*/ 289 h 400"/>
                <a:gd name="T62" fmla="*/ 304 w 400"/>
                <a:gd name="T63" fmla="*/ 210 h 400"/>
                <a:gd name="T64" fmla="*/ 269 w 400"/>
                <a:gd name="T65" fmla="*/ 289 h 400"/>
                <a:gd name="T66" fmla="*/ 210 w 400"/>
                <a:gd name="T67" fmla="*/ 210 h 400"/>
                <a:gd name="T68" fmla="*/ 210 w 400"/>
                <a:gd name="T69" fmla="*/ 380 h 400"/>
                <a:gd name="T70" fmla="*/ 210 w 400"/>
                <a:gd name="T71" fmla="*/ 309 h 400"/>
                <a:gd name="T72" fmla="*/ 344 w 400"/>
                <a:gd name="T73" fmla="*/ 309 h 400"/>
                <a:gd name="T74" fmla="*/ 242 w 400"/>
                <a:gd name="T75" fmla="*/ 37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400">
                  <a:moveTo>
                    <a:pt x="400" y="200"/>
                  </a:moveTo>
                  <a:cubicBezTo>
                    <a:pt x="400" y="310"/>
                    <a:pt x="310" y="400"/>
                    <a:pt x="200" y="400"/>
                  </a:cubicBezTo>
                  <a:cubicBezTo>
                    <a:pt x="90" y="400"/>
                    <a:pt x="0" y="310"/>
                    <a:pt x="0" y="200"/>
                  </a:cubicBezTo>
                  <a:cubicBezTo>
                    <a:pt x="0" y="90"/>
                    <a:pt x="90" y="0"/>
                    <a:pt x="200" y="0"/>
                  </a:cubicBezTo>
                  <a:cubicBezTo>
                    <a:pt x="310" y="0"/>
                    <a:pt x="400" y="90"/>
                    <a:pt x="400" y="200"/>
                  </a:cubicBezTo>
                  <a:close/>
                  <a:moveTo>
                    <a:pt x="96" y="190"/>
                  </a:moveTo>
                  <a:cubicBezTo>
                    <a:pt x="97" y="162"/>
                    <a:pt x="102" y="135"/>
                    <a:pt x="110" y="111"/>
                  </a:cubicBezTo>
                  <a:cubicBezTo>
                    <a:pt x="43" y="111"/>
                    <a:pt x="43" y="111"/>
                    <a:pt x="43" y="111"/>
                  </a:cubicBezTo>
                  <a:cubicBezTo>
                    <a:pt x="30" y="134"/>
                    <a:pt x="21" y="161"/>
                    <a:pt x="20" y="190"/>
                  </a:cubicBezTo>
                  <a:lnTo>
                    <a:pt x="96" y="190"/>
                  </a:lnTo>
                  <a:close/>
                  <a:moveTo>
                    <a:pt x="190" y="111"/>
                  </a:moveTo>
                  <a:cubicBezTo>
                    <a:pt x="131" y="111"/>
                    <a:pt x="131" y="111"/>
                    <a:pt x="131" y="111"/>
                  </a:cubicBezTo>
                  <a:cubicBezTo>
                    <a:pt x="122" y="135"/>
                    <a:pt x="117" y="162"/>
                    <a:pt x="116" y="190"/>
                  </a:cubicBezTo>
                  <a:cubicBezTo>
                    <a:pt x="190" y="190"/>
                    <a:pt x="190" y="190"/>
                    <a:pt x="190" y="190"/>
                  </a:cubicBezTo>
                  <a:cubicBezTo>
                    <a:pt x="190" y="111"/>
                    <a:pt x="190" y="111"/>
                    <a:pt x="190" y="111"/>
                  </a:cubicBezTo>
                  <a:close/>
                  <a:moveTo>
                    <a:pt x="190" y="20"/>
                  </a:moveTo>
                  <a:cubicBezTo>
                    <a:pt x="169" y="39"/>
                    <a:pt x="151" y="63"/>
                    <a:pt x="139" y="91"/>
                  </a:cubicBezTo>
                  <a:cubicBezTo>
                    <a:pt x="190" y="91"/>
                    <a:pt x="190" y="91"/>
                    <a:pt x="190" y="91"/>
                  </a:cubicBezTo>
                  <a:lnTo>
                    <a:pt x="190" y="20"/>
                  </a:lnTo>
                  <a:close/>
                  <a:moveTo>
                    <a:pt x="56" y="91"/>
                  </a:moveTo>
                  <a:cubicBezTo>
                    <a:pt x="117" y="91"/>
                    <a:pt x="117" y="91"/>
                    <a:pt x="117" y="91"/>
                  </a:cubicBezTo>
                  <a:cubicBezTo>
                    <a:pt x="128" y="66"/>
                    <a:pt x="142" y="43"/>
                    <a:pt x="158" y="24"/>
                  </a:cubicBezTo>
                  <a:cubicBezTo>
                    <a:pt x="116" y="34"/>
                    <a:pt x="80" y="59"/>
                    <a:pt x="56" y="91"/>
                  </a:cubicBezTo>
                  <a:close/>
                  <a:moveTo>
                    <a:pt x="380" y="190"/>
                  </a:moveTo>
                  <a:cubicBezTo>
                    <a:pt x="379" y="161"/>
                    <a:pt x="370" y="134"/>
                    <a:pt x="357" y="111"/>
                  </a:cubicBezTo>
                  <a:cubicBezTo>
                    <a:pt x="290" y="111"/>
                    <a:pt x="290" y="111"/>
                    <a:pt x="290" y="111"/>
                  </a:cubicBezTo>
                  <a:cubicBezTo>
                    <a:pt x="298" y="135"/>
                    <a:pt x="303" y="162"/>
                    <a:pt x="304" y="190"/>
                  </a:cubicBezTo>
                  <a:lnTo>
                    <a:pt x="380" y="190"/>
                  </a:lnTo>
                  <a:close/>
                  <a:moveTo>
                    <a:pt x="210" y="190"/>
                  </a:moveTo>
                  <a:cubicBezTo>
                    <a:pt x="284" y="190"/>
                    <a:pt x="284" y="190"/>
                    <a:pt x="284" y="190"/>
                  </a:cubicBezTo>
                  <a:cubicBezTo>
                    <a:pt x="283" y="162"/>
                    <a:pt x="278" y="135"/>
                    <a:pt x="269" y="111"/>
                  </a:cubicBezTo>
                  <a:cubicBezTo>
                    <a:pt x="210" y="111"/>
                    <a:pt x="210" y="111"/>
                    <a:pt x="210" y="111"/>
                  </a:cubicBezTo>
                  <a:lnTo>
                    <a:pt x="210" y="190"/>
                  </a:lnTo>
                  <a:close/>
                  <a:moveTo>
                    <a:pt x="210" y="91"/>
                  </a:moveTo>
                  <a:cubicBezTo>
                    <a:pt x="261" y="91"/>
                    <a:pt x="261" y="91"/>
                    <a:pt x="261" y="91"/>
                  </a:cubicBezTo>
                  <a:cubicBezTo>
                    <a:pt x="249" y="63"/>
                    <a:pt x="231" y="39"/>
                    <a:pt x="210" y="20"/>
                  </a:cubicBezTo>
                  <a:lnTo>
                    <a:pt x="210" y="91"/>
                  </a:lnTo>
                  <a:close/>
                  <a:moveTo>
                    <a:pt x="242" y="24"/>
                  </a:moveTo>
                  <a:cubicBezTo>
                    <a:pt x="258" y="43"/>
                    <a:pt x="272" y="66"/>
                    <a:pt x="283" y="91"/>
                  </a:cubicBezTo>
                  <a:cubicBezTo>
                    <a:pt x="344" y="91"/>
                    <a:pt x="344" y="91"/>
                    <a:pt x="344" y="91"/>
                  </a:cubicBezTo>
                  <a:cubicBezTo>
                    <a:pt x="320" y="59"/>
                    <a:pt x="284" y="34"/>
                    <a:pt x="242" y="24"/>
                  </a:cubicBezTo>
                  <a:close/>
                  <a:moveTo>
                    <a:pt x="20" y="210"/>
                  </a:moveTo>
                  <a:cubicBezTo>
                    <a:pt x="21" y="239"/>
                    <a:pt x="30" y="266"/>
                    <a:pt x="43" y="289"/>
                  </a:cubicBezTo>
                  <a:cubicBezTo>
                    <a:pt x="110" y="289"/>
                    <a:pt x="110" y="289"/>
                    <a:pt x="110" y="289"/>
                  </a:cubicBezTo>
                  <a:cubicBezTo>
                    <a:pt x="102" y="265"/>
                    <a:pt x="97" y="238"/>
                    <a:pt x="96" y="210"/>
                  </a:cubicBezTo>
                  <a:cubicBezTo>
                    <a:pt x="20" y="210"/>
                    <a:pt x="20" y="210"/>
                    <a:pt x="20" y="210"/>
                  </a:cubicBezTo>
                  <a:close/>
                  <a:moveTo>
                    <a:pt x="190" y="210"/>
                  </a:moveTo>
                  <a:cubicBezTo>
                    <a:pt x="116" y="210"/>
                    <a:pt x="116" y="210"/>
                    <a:pt x="116" y="210"/>
                  </a:cubicBezTo>
                  <a:cubicBezTo>
                    <a:pt x="117" y="238"/>
                    <a:pt x="122" y="265"/>
                    <a:pt x="131" y="289"/>
                  </a:cubicBezTo>
                  <a:cubicBezTo>
                    <a:pt x="190" y="289"/>
                    <a:pt x="190" y="289"/>
                    <a:pt x="190" y="289"/>
                  </a:cubicBezTo>
                  <a:lnTo>
                    <a:pt x="190" y="210"/>
                  </a:lnTo>
                  <a:close/>
                  <a:moveTo>
                    <a:pt x="190" y="309"/>
                  </a:moveTo>
                  <a:cubicBezTo>
                    <a:pt x="139" y="309"/>
                    <a:pt x="139" y="309"/>
                    <a:pt x="139" y="309"/>
                  </a:cubicBezTo>
                  <a:cubicBezTo>
                    <a:pt x="151" y="337"/>
                    <a:pt x="169" y="361"/>
                    <a:pt x="190" y="380"/>
                  </a:cubicBezTo>
                  <a:cubicBezTo>
                    <a:pt x="190" y="309"/>
                    <a:pt x="190" y="309"/>
                    <a:pt x="190" y="309"/>
                  </a:cubicBezTo>
                  <a:close/>
                  <a:moveTo>
                    <a:pt x="158" y="376"/>
                  </a:moveTo>
                  <a:cubicBezTo>
                    <a:pt x="142" y="357"/>
                    <a:pt x="128" y="334"/>
                    <a:pt x="117" y="309"/>
                  </a:cubicBezTo>
                  <a:cubicBezTo>
                    <a:pt x="56" y="309"/>
                    <a:pt x="56" y="309"/>
                    <a:pt x="56" y="309"/>
                  </a:cubicBezTo>
                  <a:cubicBezTo>
                    <a:pt x="80" y="341"/>
                    <a:pt x="116" y="366"/>
                    <a:pt x="158" y="376"/>
                  </a:cubicBezTo>
                  <a:close/>
                  <a:moveTo>
                    <a:pt x="304" y="210"/>
                  </a:moveTo>
                  <a:cubicBezTo>
                    <a:pt x="303" y="238"/>
                    <a:pt x="298" y="265"/>
                    <a:pt x="290" y="289"/>
                  </a:cubicBezTo>
                  <a:cubicBezTo>
                    <a:pt x="357" y="289"/>
                    <a:pt x="357" y="289"/>
                    <a:pt x="357" y="289"/>
                  </a:cubicBezTo>
                  <a:cubicBezTo>
                    <a:pt x="370" y="266"/>
                    <a:pt x="379" y="239"/>
                    <a:pt x="380" y="210"/>
                  </a:cubicBezTo>
                  <a:cubicBezTo>
                    <a:pt x="304" y="210"/>
                    <a:pt x="304" y="210"/>
                    <a:pt x="304" y="210"/>
                  </a:cubicBezTo>
                  <a:close/>
                  <a:moveTo>
                    <a:pt x="210" y="289"/>
                  </a:moveTo>
                  <a:cubicBezTo>
                    <a:pt x="269" y="289"/>
                    <a:pt x="269" y="289"/>
                    <a:pt x="269" y="289"/>
                  </a:cubicBezTo>
                  <a:cubicBezTo>
                    <a:pt x="278" y="265"/>
                    <a:pt x="283" y="238"/>
                    <a:pt x="284" y="210"/>
                  </a:cubicBezTo>
                  <a:cubicBezTo>
                    <a:pt x="210" y="210"/>
                    <a:pt x="210" y="210"/>
                    <a:pt x="210" y="210"/>
                  </a:cubicBezTo>
                  <a:lnTo>
                    <a:pt x="210" y="289"/>
                  </a:lnTo>
                  <a:close/>
                  <a:moveTo>
                    <a:pt x="210" y="380"/>
                  </a:moveTo>
                  <a:cubicBezTo>
                    <a:pt x="231" y="361"/>
                    <a:pt x="249" y="337"/>
                    <a:pt x="261" y="309"/>
                  </a:cubicBezTo>
                  <a:cubicBezTo>
                    <a:pt x="210" y="309"/>
                    <a:pt x="210" y="309"/>
                    <a:pt x="210" y="309"/>
                  </a:cubicBezTo>
                  <a:lnTo>
                    <a:pt x="210" y="380"/>
                  </a:lnTo>
                  <a:close/>
                  <a:moveTo>
                    <a:pt x="344" y="309"/>
                  </a:moveTo>
                  <a:cubicBezTo>
                    <a:pt x="283" y="309"/>
                    <a:pt x="283" y="309"/>
                    <a:pt x="283" y="309"/>
                  </a:cubicBezTo>
                  <a:cubicBezTo>
                    <a:pt x="272" y="334"/>
                    <a:pt x="258" y="357"/>
                    <a:pt x="242" y="376"/>
                  </a:cubicBezTo>
                  <a:cubicBezTo>
                    <a:pt x="284" y="366"/>
                    <a:pt x="320" y="341"/>
                    <a:pt x="344" y="309"/>
                  </a:cubicBezTo>
                  <a:close/>
                </a:path>
              </a:pathLst>
            </a:custGeom>
            <a:solidFill>
              <a:srgbClr val="FFFFFF"/>
            </a:solidFill>
            <a:ln>
              <a:noFill/>
            </a:ln>
            <a:extLst/>
          </p:spPr>
          <p:txBody>
            <a:bodyPr vert="horz" wrap="square" lIns="89449" tIns="44723" rIns="89449" bIns="44723" numCol="1" anchor="t" anchorCtr="0" compatLnSpc="1">
              <a:prstTxWarp prst="textNoShape">
                <a:avLst/>
              </a:prstTxWarp>
            </a:bodyPr>
            <a:lstStyle/>
            <a:p>
              <a:pPr marL="0" marR="0" lvl="0" indent="0" defTabSz="89435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FFFFFF"/>
                </a:solidFill>
                <a:effectLst/>
                <a:uLnTx/>
                <a:uFillTx/>
              </a:endParaRPr>
            </a:p>
          </p:txBody>
        </p:sp>
      </p:grpSp>
      <p:cxnSp>
        <p:nvCxnSpPr>
          <p:cNvPr id="60" name="Straight Connector 59"/>
          <p:cNvCxnSpPr/>
          <p:nvPr/>
        </p:nvCxnSpPr>
        <p:spPr>
          <a:xfrm>
            <a:off x="4517701" y="2455653"/>
            <a:ext cx="1" cy="251210"/>
          </a:xfrm>
          <a:prstGeom prst="line">
            <a:avLst/>
          </a:prstGeom>
          <a:noFill/>
          <a:ln w="38100" cap="flat" cmpd="sng" algn="ctr">
            <a:solidFill>
              <a:srgbClr val="000000"/>
            </a:solidFill>
            <a:prstDash val="solid"/>
            <a:headEnd type="none"/>
            <a:tailEnd type="none"/>
          </a:ln>
          <a:effectLst/>
        </p:spPr>
      </p:cxnSp>
      <p:cxnSp>
        <p:nvCxnSpPr>
          <p:cNvPr id="61" name="Straight Connector 60"/>
          <p:cNvCxnSpPr/>
          <p:nvPr/>
        </p:nvCxnSpPr>
        <p:spPr>
          <a:xfrm>
            <a:off x="5943826" y="2465292"/>
            <a:ext cx="1" cy="251210"/>
          </a:xfrm>
          <a:prstGeom prst="line">
            <a:avLst/>
          </a:prstGeom>
          <a:noFill/>
          <a:ln w="38100" cap="flat" cmpd="sng" algn="ctr">
            <a:solidFill>
              <a:srgbClr val="000000"/>
            </a:solidFill>
            <a:prstDash val="solid"/>
            <a:headEnd type="none"/>
            <a:tailEnd type="none"/>
          </a:ln>
          <a:effectLst/>
        </p:spPr>
      </p:cxnSp>
      <p:cxnSp>
        <p:nvCxnSpPr>
          <p:cNvPr id="62" name="Straight Connector 61"/>
          <p:cNvCxnSpPr/>
          <p:nvPr/>
        </p:nvCxnSpPr>
        <p:spPr>
          <a:xfrm>
            <a:off x="7391414" y="2488393"/>
            <a:ext cx="1" cy="251210"/>
          </a:xfrm>
          <a:prstGeom prst="line">
            <a:avLst/>
          </a:prstGeom>
          <a:noFill/>
          <a:ln w="38100" cap="flat" cmpd="sng" algn="ctr">
            <a:solidFill>
              <a:srgbClr val="000000"/>
            </a:solidFill>
            <a:prstDash val="solid"/>
            <a:headEnd type="none"/>
            <a:tailEnd type="none"/>
          </a:ln>
          <a:effectLst/>
        </p:spPr>
      </p:cxnSp>
      <p:grpSp>
        <p:nvGrpSpPr>
          <p:cNvPr id="63" name="Group 62"/>
          <p:cNvGrpSpPr/>
          <p:nvPr/>
        </p:nvGrpSpPr>
        <p:grpSpPr>
          <a:xfrm>
            <a:off x="3832548" y="2711798"/>
            <a:ext cx="1353519" cy="3543356"/>
            <a:chOff x="2711268" y="2765575"/>
            <a:chExt cx="1380856" cy="3614921"/>
          </a:xfrm>
        </p:grpSpPr>
        <p:sp>
          <p:nvSpPr>
            <p:cNvPr id="64" name="Rectangle 63"/>
            <p:cNvSpPr/>
            <p:nvPr/>
          </p:nvSpPr>
          <p:spPr bwMode="auto">
            <a:xfrm>
              <a:off x="2711268" y="2765575"/>
              <a:ext cx="1379545" cy="2002234"/>
            </a:xfrm>
            <a:prstGeom prst="rect">
              <a:avLst/>
            </a:prstGeom>
            <a:solidFill>
              <a:srgbClr val="0072C6"/>
            </a:solidFill>
            <a:ln w="10795" cap="flat" cmpd="sng" algn="ctr">
              <a:noFill/>
              <a:prstDash val="solid"/>
              <a:headEnd type="none" w="med" len="med"/>
              <a:tailEnd type="none" w="med" len="med"/>
            </a:ln>
            <a:effectLst/>
          </p:spPr>
          <p:txBody>
            <a:bodyPr vert="horz" wrap="square" lIns="182693" tIns="45626" rIns="182511" bIns="45626" numCol="1" rtlCol="0" anchor="t"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endPar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endParaRPr>
            </a:p>
            <a:p>
              <a:pPr marL="0" marR="0" lvl="0" indent="0" algn="ctr" defTabSz="912148" eaLnBrk="1" fontAlgn="base" latinLnBrk="0" hangingPunct="1">
                <a:lnSpc>
                  <a:spcPct val="90000"/>
                </a:lnSpc>
                <a:spcBef>
                  <a:spcPct val="0"/>
                </a:spcBef>
                <a:spcAft>
                  <a:spcPct val="0"/>
                </a:spcAft>
                <a:buClrTx/>
                <a:buSzTx/>
                <a:buFontTx/>
                <a:buNone/>
                <a:tabLst/>
                <a:defRPr/>
              </a:pPr>
              <a:r>
                <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Virtual machines</a:t>
              </a:r>
            </a:p>
          </p:txBody>
        </p:sp>
        <p:pic>
          <p:nvPicPr>
            <p:cNvPr id="65" name="Picture 6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06505" y="3529042"/>
              <a:ext cx="859244" cy="777354"/>
            </a:xfrm>
            <a:prstGeom prst="rect">
              <a:avLst/>
            </a:prstGeom>
            <a:noFill/>
            <a:ln>
              <a:noFill/>
            </a:ln>
          </p:spPr>
        </p:pic>
        <p:sp>
          <p:nvSpPr>
            <p:cNvPr id="66" name="Rectangle 65"/>
            <p:cNvSpPr/>
            <p:nvPr/>
          </p:nvSpPr>
          <p:spPr bwMode="auto">
            <a:xfrm>
              <a:off x="2711269" y="4574522"/>
              <a:ext cx="1380855" cy="1805974"/>
            </a:xfrm>
            <a:prstGeom prst="rect">
              <a:avLst/>
            </a:prstGeom>
            <a:solidFill>
              <a:srgbClr val="00BCF2"/>
            </a:solidFill>
            <a:ln w="10795" cap="flat" cmpd="sng" algn="ctr">
              <a:noFill/>
              <a:prstDash val="solid"/>
              <a:headEnd type="none" w="med" len="med"/>
              <a:tailEnd type="none" w="med" len="med"/>
            </a:ln>
            <a:effectLst/>
          </p:spPr>
          <p:txBody>
            <a:bodyPr vert="horz" wrap="square" lIns="182511" tIns="456270" rIns="182511" bIns="45626" numCol="1" rtlCol="0" anchor="t" anchorCtr="0" compatLnSpc="1">
              <a:prstTxWarp prst="textNoShape">
                <a:avLst/>
              </a:prstTxWarp>
            </a:bodyPr>
            <a:lstStyle/>
            <a:p>
              <a:pPr marL="0" marR="0" lvl="0" indent="0" algn="ctr" defTabSz="912148" eaLnBrk="1" fontAlgn="base" latinLnBrk="0" hangingPunct="1">
                <a:lnSpc>
                  <a:spcPct val="100000"/>
                </a:lnSpc>
                <a:spcBef>
                  <a:spcPct val="0"/>
                </a:spcBef>
                <a:spcAft>
                  <a:spcPct val="0"/>
                </a:spcAft>
                <a:buClrTx/>
                <a:buSzTx/>
                <a:buFontTx/>
                <a:buNone/>
                <a:tabLst/>
                <a:defRPr/>
              </a:pPr>
              <a:r>
                <a:rPr kumimoji="0" lang="zh-TW" alt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虛擬機器雲</a:t>
              </a:r>
              <a:r>
                <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a:t>
              </a:r>
              <a:r>
                <a:rPr kumimoji="0" lang="en-US" sz="1371" b="0" i="0" u="none" strike="noStrike" kern="0" cap="none" spc="-50" normalizeH="0" baseline="0" noProof="0" dirty="0" err="1" smtClean="0">
                  <a:ln>
                    <a:noFill/>
                  </a:ln>
                  <a:solidFill>
                    <a:srgbClr val="FFFFFE"/>
                  </a:solidFill>
                  <a:effectLst/>
                  <a:uLnTx/>
                  <a:uFillTx/>
                  <a:latin typeface="Segoe UI"/>
                  <a:ea typeface="Segoe UI" pitchFamily="34" charset="0"/>
                  <a:cs typeface="Segoe UI" pitchFamily="34" charset="0"/>
                </a:rPr>
                <a:t>IaaS</a:t>
              </a:r>
              <a:r>
                <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a:t>
              </a:r>
            </a:p>
          </p:txBody>
        </p:sp>
      </p:grpSp>
      <p:grpSp>
        <p:nvGrpSpPr>
          <p:cNvPr id="67" name="Group 66"/>
          <p:cNvGrpSpPr/>
          <p:nvPr/>
        </p:nvGrpSpPr>
        <p:grpSpPr>
          <a:xfrm>
            <a:off x="5275103" y="2706898"/>
            <a:ext cx="1348834" cy="3548256"/>
            <a:chOff x="5034956" y="2782348"/>
            <a:chExt cx="1376076" cy="3619919"/>
          </a:xfrm>
        </p:grpSpPr>
        <p:sp>
          <p:nvSpPr>
            <p:cNvPr id="68" name="Rectangle 67"/>
            <p:cNvSpPr/>
            <p:nvPr/>
          </p:nvSpPr>
          <p:spPr bwMode="auto">
            <a:xfrm>
              <a:off x="5034956" y="2782348"/>
              <a:ext cx="1376075" cy="1813074"/>
            </a:xfrm>
            <a:prstGeom prst="rect">
              <a:avLst/>
            </a:prstGeom>
            <a:solidFill>
              <a:srgbClr val="0072C6"/>
            </a:solidFill>
            <a:ln w="10795" cap="flat" cmpd="sng" algn="ctr">
              <a:noFill/>
              <a:prstDash val="solid"/>
              <a:headEnd type="none" w="med" len="med"/>
              <a:tailEnd type="none" w="med" len="med"/>
            </a:ln>
            <a:effectLst/>
          </p:spPr>
          <p:txBody>
            <a:bodyPr vert="horz" wrap="square" lIns="91250" tIns="45626" rIns="182511" bIns="45626" numCol="1" rtlCol="0" anchor="t"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endPar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endParaRPr>
            </a:p>
            <a:p>
              <a:pPr marL="0" marR="0" lvl="0" indent="0" algn="ctr" defTabSz="912148" eaLnBrk="1" fontAlgn="base" latinLnBrk="0" hangingPunct="1">
                <a:lnSpc>
                  <a:spcPct val="90000"/>
                </a:lnSpc>
                <a:spcBef>
                  <a:spcPct val="0"/>
                </a:spcBef>
                <a:spcAft>
                  <a:spcPct val="0"/>
                </a:spcAft>
                <a:buClrTx/>
                <a:buSzTx/>
                <a:buFontTx/>
                <a:buNone/>
                <a:tabLst/>
                <a:defRPr/>
              </a:pPr>
              <a:r>
                <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Service bus</a:t>
              </a:r>
            </a:p>
          </p:txBody>
        </p:sp>
        <p:grpSp>
          <p:nvGrpSpPr>
            <p:cNvPr id="69" name="Group 68"/>
            <p:cNvGrpSpPr/>
            <p:nvPr/>
          </p:nvGrpSpPr>
          <p:grpSpPr>
            <a:xfrm>
              <a:off x="5306005" y="3510229"/>
              <a:ext cx="921427" cy="814980"/>
              <a:chOff x="6598260" y="4590950"/>
              <a:chExt cx="349473" cy="304226"/>
            </a:xfrm>
          </p:grpSpPr>
          <p:sp>
            <p:nvSpPr>
              <p:cNvPr id="71" name="Freeform 5"/>
              <p:cNvSpPr>
                <a:spLocks/>
              </p:cNvSpPr>
              <p:nvPr/>
            </p:nvSpPr>
            <p:spPr bwMode="auto">
              <a:xfrm>
                <a:off x="6691674" y="470043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2" name="Freeform 6"/>
              <p:cNvSpPr>
                <a:spLocks/>
              </p:cNvSpPr>
              <p:nvPr/>
            </p:nvSpPr>
            <p:spPr bwMode="auto">
              <a:xfrm>
                <a:off x="6691674" y="469654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3" name="Freeform 7"/>
              <p:cNvSpPr>
                <a:spLocks/>
              </p:cNvSpPr>
              <p:nvPr/>
            </p:nvSpPr>
            <p:spPr bwMode="auto">
              <a:xfrm>
                <a:off x="6833929" y="468529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4" name="Freeform 8"/>
              <p:cNvSpPr>
                <a:spLocks/>
              </p:cNvSpPr>
              <p:nvPr/>
            </p:nvSpPr>
            <p:spPr bwMode="auto">
              <a:xfrm>
                <a:off x="6738144" y="4641582"/>
                <a:ext cx="0" cy="43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5" name="Freeform 9"/>
              <p:cNvSpPr>
                <a:spLocks/>
              </p:cNvSpPr>
              <p:nvPr/>
            </p:nvSpPr>
            <p:spPr bwMode="auto">
              <a:xfrm>
                <a:off x="6770389" y="4717747"/>
                <a:ext cx="0" cy="433"/>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6" name="Freeform 10"/>
              <p:cNvSpPr>
                <a:spLocks noEditPoints="1"/>
              </p:cNvSpPr>
              <p:nvPr/>
            </p:nvSpPr>
            <p:spPr bwMode="auto">
              <a:xfrm>
                <a:off x="6645204" y="4590950"/>
                <a:ext cx="245627" cy="152329"/>
              </a:xfrm>
              <a:custGeom>
                <a:avLst/>
                <a:gdLst>
                  <a:gd name="T0" fmla="*/ 804 w 913"/>
                  <a:gd name="T1" fmla="*/ 236 h 620"/>
                  <a:gd name="T2" fmla="*/ 765 w 913"/>
                  <a:gd name="T3" fmla="*/ 243 h 620"/>
                  <a:gd name="T4" fmla="*/ 763 w 913"/>
                  <a:gd name="T5" fmla="*/ 193 h 620"/>
                  <a:gd name="T6" fmla="*/ 522 w 913"/>
                  <a:gd name="T7" fmla="*/ 18 h 620"/>
                  <a:gd name="T8" fmla="*/ 368 w 913"/>
                  <a:gd name="T9" fmla="*/ 129 h 620"/>
                  <a:gd name="T10" fmla="*/ 368 w 913"/>
                  <a:gd name="T11" fmla="*/ 129 h 620"/>
                  <a:gd name="T12" fmla="*/ 276 w 913"/>
                  <a:gd name="T13" fmla="*/ 82 h 620"/>
                  <a:gd name="T14" fmla="*/ 130 w 913"/>
                  <a:gd name="T15" fmla="*/ 206 h 620"/>
                  <a:gd name="T16" fmla="*/ 138 w 913"/>
                  <a:gd name="T17" fmla="*/ 262 h 620"/>
                  <a:gd name="T18" fmla="*/ 138 w 913"/>
                  <a:gd name="T19" fmla="*/ 262 h 620"/>
                  <a:gd name="T20" fmla="*/ 22 w 913"/>
                  <a:gd name="T21" fmla="*/ 333 h 620"/>
                  <a:gd name="T22" fmla="*/ 86 w 913"/>
                  <a:gd name="T23" fmla="*/ 476 h 620"/>
                  <a:gd name="T24" fmla="*/ 174 w 913"/>
                  <a:gd name="T25" fmla="*/ 472 h 620"/>
                  <a:gd name="T26" fmla="*/ 174 w 913"/>
                  <a:gd name="T27" fmla="*/ 472 h 620"/>
                  <a:gd name="T28" fmla="*/ 188 w 913"/>
                  <a:gd name="T29" fmla="*/ 512 h 620"/>
                  <a:gd name="T30" fmla="*/ 398 w 913"/>
                  <a:gd name="T31" fmla="*/ 582 h 620"/>
                  <a:gd name="T32" fmla="*/ 452 w 913"/>
                  <a:gd name="T33" fmla="*/ 538 h 620"/>
                  <a:gd name="T34" fmla="*/ 567 w 913"/>
                  <a:gd name="T35" fmla="*/ 576 h 620"/>
                  <a:gd name="T36" fmla="*/ 637 w 913"/>
                  <a:gd name="T37" fmla="*/ 500 h 620"/>
                  <a:gd name="T38" fmla="*/ 731 w 913"/>
                  <a:gd name="T39" fmla="*/ 506 h 620"/>
                  <a:gd name="T40" fmla="*/ 768 w 913"/>
                  <a:gd name="T41" fmla="*/ 448 h 620"/>
                  <a:gd name="T42" fmla="*/ 804 w 913"/>
                  <a:gd name="T43" fmla="*/ 454 h 620"/>
                  <a:gd name="T44" fmla="*/ 913 w 913"/>
                  <a:gd name="T45" fmla="*/ 346 h 620"/>
                  <a:gd name="T46" fmla="*/ 804 w 913"/>
                  <a:gd name="T47" fmla="*/ 236 h 620"/>
                  <a:gd name="T48" fmla="*/ 172 w 913"/>
                  <a:gd name="T49" fmla="*/ 446 h 620"/>
                  <a:gd name="T50" fmla="*/ 172 w 913"/>
                  <a:gd name="T51" fmla="*/ 446 h 620"/>
                  <a:gd name="T52" fmla="*/ 172 w 913"/>
                  <a:gd name="T53" fmla="*/ 446 h 620"/>
                  <a:gd name="T54" fmla="*/ 172 w 913"/>
                  <a:gd name="T55" fmla="*/ 446 h 620"/>
                  <a:gd name="T56" fmla="*/ 172 w 913"/>
                  <a:gd name="T57" fmla="*/ 431 h 620"/>
                  <a:gd name="T58" fmla="*/ 172 w 913"/>
                  <a:gd name="T59" fmla="*/ 431 h 620"/>
                  <a:gd name="T60" fmla="*/ 172 w 913"/>
                  <a:gd name="T61" fmla="*/ 431 h 620"/>
                  <a:gd name="T62" fmla="*/ 172 w 913"/>
                  <a:gd name="T63" fmla="*/ 431 h 620"/>
                  <a:gd name="T64" fmla="*/ 345 w 913"/>
                  <a:gd name="T65" fmla="*/ 208 h 620"/>
                  <a:gd name="T66" fmla="*/ 345 w 913"/>
                  <a:gd name="T67" fmla="*/ 207 h 620"/>
                  <a:gd name="T68" fmla="*/ 345 w 913"/>
                  <a:gd name="T69" fmla="*/ 207 h 620"/>
                  <a:gd name="T70" fmla="*/ 345 w 913"/>
                  <a:gd name="T71" fmla="*/ 208 h 620"/>
                  <a:gd name="T72" fmla="*/ 465 w 913"/>
                  <a:gd name="T73" fmla="*/ 518 h 620"/>
                  <a:gd name="T74" fmla="*/ 465 w 913"/>
                  <a:gd name="T75" fmla="*/ 518 h 620"/>
                  <a:gd name="T76" fmla="*/ 465 w 913"/>
                  <a:gd name="T77" fmla="*/ 517 h 620"/>
                  <a:gd name="T78" fmla="*/ 465 w 913"/>
                  <a:gd name="T79" fmla="*/ 518 h 620"/>
                  <a:gd name="T80" fmla="*/ 702 w 913"/>
                  <a:gd name="T81" fmla="*/ 385 h 620"/>
                  <a:gd name="T82" fmla="*/ 702 w 913"/>
                  <a:gd name="T83" fmla="*/ 385 h 620"/>
                  <a:gd name="T84" fmla="*/ 702 w 913"/>
                  <a:gd name="T85" fmla="*/ 385 h 620"/>
                  <a:gd name="T86" fmla="*/ 702 w 913"/>
                  <a:gd name="T87" fmla="*/ 3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0">
                    <a:moveTo>
                      <a:pt x="804" y="236"/>
                    </a:moveTo>
                    <a:cubicBezTo>
                      <a:pt x="791" y="236"/>
                      <a:pt x="778" y="239"/>
                      <a:pt x="765" y="243"/>
                    </a:cubicBezTo>
                    <a:cubicBezTo>
                      <a:pt x="767" y="227"/>
                      <a:pt x="766" y="210"/>
                      <a:pt x="763" y="193"/>
                    </a:cubicBezTo>
                    <a:cubicBezTo>
                      <a:pt x="745" y="78"/>
                      <a:pt x="637" y="0"/>
                      <a:pt x="522" y="18"/>
                    </a:cubicBezTo>
                    <a:cubicBezTo>
                      <a:pt x="453" y="29"/>
                      <a:pt x="398" y="72"/>
                      <a:pt x="368" y="129"/>
                    </a:cubicBezTo>
                    <a:cubicBezTo>
                      <a:pt x="368" y="129"/>
                      <a:pt x="368" y="129"/>
                      <a:pt x="368" y="129"/>
                    </a:cubicBezTo>
                    <a:cubicBezTo>
                      <a:pt x="346" y="102"/>
                      <a:pt x="314" y="85"/>
                      <a:pt x="276" y="82"/>
                    </a:cubicBezTo>
                    <a:cubicBezTo>
                      <a:pt x="202" y="75"/>
                      <a:pt x="136" y="131"/>
                      <a:pt x="130" y="206"/>
                    </a:cubicBezTo>
                    <a:cubicBezTo>
                      <a:pt x="128" y="225"/>
                      <a:pt x="131" y="245"/>
                      <a:pt x="138" y="262"/>
                    </a:cubicBezTo>
                    <a:cubicBezTo>
                      <a:pt x="138" y="262"/>
                      <a:pt x="138" y="262"/>
                      <a:pt x="138" y="262"/>
                    </a:cubicBezTo>
                    <a:cubicBezTo>
                      <a:pt x="89" y="257"/>
                      <a:pt x="41" y="285"/>
                      <a:pt x="22" y="333"/>
                    </a:cubicBezTo>
                    <a:cubicBezTo>
                      <a:pt x="0" y="390"/>
                      <a:pt x="29" y="454"/>
                      <a:pt x="86" y="476"/>
                    </a:cubicBezTo>
                    <a:cubicBezTo>
                      <a:pt x="116" y="488"/>
                      <a:pt x="148" y="485"/>
                      <a:pt x="174" y="472"/>
                    </a:cubicBezTo>
                    <a:cubicBezTo>
                      <a:pt x="174" y="472"/>
                      <a:pt x="174" y="472"/>
                      <a:pt x="174" y="472"/>
                    </a:cubicBezTo>
                    <a:cubicBezTo>
                      <a:pt x="177" y="485"/>
                      <a:pt x="182" y="499"/>
                      <a:pt x="188" y="512"/>
                    </a:cubicBezTo>
                    <a:cubicBezTo>
                      <a:pt x="227" y="589"/>
                      <a:pt x="321" y="620"/>
                      <a:pt x="398" y="582"/>
                    </a:cubicBezTo>
                    <a:cubicBezTo>
                      <a:pt x="420" y="571"/>
                      <a:pt x="438" y="556"/>
                      <a:pt x="452" y="538"/>
                    </a:cubicBezTo>
                    <a:cubicBezTo>
                      <a:pt x="477" y="573"/>
                      <a:pt x="523" y="590"/>
                      <a:pt x="567" y="576"/>
                    </a:cubicBezTo>
                    <a:cubicBezTo>
                      <a:pt x="604" y="565"/>
                      <a:pt x="629" y="535"/>
                      <a:pt x="637" y="500"/>
                    </a:cubicBezTo>
                    <a:cubicBezTo>
                      <a:pt x="663" y="521"/>
                      <a:pt x="701" y="525"/>
                      <a:pt x="731" y="506"/>
                    </a:cubicBezTo>
                    <a:cubicBezTo>
                      <a:pt x="752" y="493"/>
                      <a:pt x="765" y="471"/>
                      <a:pt x="768" y="448"/>
                    </a:cubicBezTo>
                    <a:cubicBezTo>
                      <a:pt x="779" y="452"/>
                      <a:pt x="791" y="454"/>
                      <a:pt x="804" y="454"/>
                    </a:cubicBezTo>
                    <a:cubicBezTo>
                      <a:pt x="864" y="455"/>
                      <a:pt x="913" y="406"/>
                      <a:pt x="913" y="346"/>
                    </a:cubicBezTo>
                    <a:cubicBezTo>
                      <a:pt x="913" y="285"/>
                      <a:pt x="864" y="236"/>
                      <a:pt x="804" y="236"/>
                    </a:cubicBezTo>
                    <a:close/>
                    <a:moveTo>
                      <a:pt x="172" y="446"/>
                    </a:moveTo>
                    <a:cubicBezTo>
                      <a:pt x="172" y="446"/>
                      <a:pt x="172" y="446"/>
                      <a:pt x="172" y="446"/>
                    </a:cubicBezTo>
                    <a:cubicBezTo>
                      <a:pt x="172" y="446"/>
                      <a:pt x="172" y="446"/>
                      <a:pt x="172" y="446"/>
                    </a:cubicBezTo>
                    <a:cubicBezTo>
                      <a:pt x="172" y="446"/>
                      <a:pt x="172" y="446"/>
                      <a:pt x="172" y="446"/>
                    </a:cubicBezTo>
                    <a:close/>
                    <a:moveTo>
                      <a:pt x="172" y="431"/>
                    </a:moveTo>
                    <a:cubicBezTo>
                      <a:pt x="172" y="431"/>
                      <a:pt x="172" y="431"/>
                      <a:pt x="172" y="431"/>
                    </a:cubicBezTo>
                    <a:cubicBezTo>
                      <a:pt x="172" y="431"/>
                      <a:pt x="172" y="431"/>
                      <a:pt x="172" y="431"/>
                    </a:cubicBezTo>
                    <a:cubicBezTo>
                      <a:pt x="172" y="431"/>
                      <a:pt x="172" y="431"/>
                      <a:pt x="172" y="431"/>
                    </a:cubicBezTo>
                    <a:close/>
                    <a:moveTo>
                      <a:pt x="345" y="208"/>
                    </a:moveTo>
                    <a:cubicBezTo>
                      <a:pt x="345" y="208"/>
                      <a:pt x="345" y="208"/>
                      <a:pt x="345" y="207"/>
                    </a:cubicBezTo>
                    <a:cubicBezTo>
                      <a:pt x="345" y="207"/>
                      <a:pt x="345" y="207"/>
                      <a:pt x="345" y="207"/>
                    </a:cubicBezTo>
                    <a:cubicBezTo>
                      <a:pt x="345" y="208"/>
                      <a:pt x="345" y="208"/>
                      <a:pt x="345" y="208"/>
                    </a:cubicBezTo>
                    <a:close/>
                    <a:moveTo>
                      <a:pt x="465" y="518"/>
                    </a:moveTo>
                    <a:cubicBezTo>
                      <a:pt x="465" y="518"/>
                      <a:pt x="465" y="518"/>
                      <a:pt x="465" y="518"/>
                    </a:cubicBezTo>
                    <a:cubicBezTo>
                      <a:pt x="465" y="518"/>
                      <a:pt x="465" y="518"/>
                      <a:pt x="465" y="517"/>
                    </a:cubicBezTo>
                    <a:cubicBezTo>
                      <a:pt x="465" y="517"/>
                      <a:pt x="465" y="518"/>
                      <a:pt x="465" y="518"/>
                    </a:cubicBezTo>
                    <a:close/>
                    <a:moveTo>
                      <a:pt x="702" y="385"/>
                    </a:moveTo>
                    <a:cubicBezTo>
                      <a:pt x="702" y="385"/>
                      <a:pt x="702" y="385"/>
                      <a:pt x="702" y="385"/>
                    </a:cubicBezTo>
                    <a:cubicBezTo>
                      <a:pt x="702" y="385"/>
                      <a:pt x="702" y="385"/>
                      <a:pt x="702" y="385"/>
                    </a:cubicBezTo>
                    <a:cubicBezTo>
                      <a:pt x="702" y="385"/>
                      <a:pt x="702" y="385"/>
                      <a:pt x="702" y="385"/>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7" name="Freeform 11"/>
              <p:cNvSpPr>
                <a:spLocks noEditPoints="1"/>
              </p:cNvSpPr>
              <p:nvPr/>
            </p:nvSpPr>
            <p:spPr bwMode="auto">
              <a:xfrm>
                <a:off x="6598260" y="4706928"/>
                <a:ext cx="41728" cy="90013"/>
              </a:xfrm>
              <a:custGeom>
                <a:avLst/>
                <a:gdLst>
                  <a:gd name="T0" fmla="*/ 79 w 155"/>
                  <a:gd name="T1" fmla="*/ 328 h 368"/>
                  <a:gd name="T2" fmla="*/ 114 w 155"/>
                  <a:gd name="T3" fmla="*/ 293 h 368"/>
                  <a:gd name="T4" fmla="*/ 113 w 155"/>
                  <a:gd name="T5" fmla="*/ 74 h 368"/>
                  <a:gd name="T6" fmla="*/ 154 w 155"/>
                  <a:gd name="T7" fmla="*/ 116 h 368"/>
                  <a:gd name="T8" fmla="*/ 154 w 155"/>
                  <a:gd name="T9" fmla="*/ 0 h 368"/>
                  <a:gd name="T10" fmla="*/ 38 w 155"/>
                  <a:gd name="T11" fmla="*/ 0 h 368"/>
                  <a:gd name="T12" fmla="*/ 78 w 155"/>
                  <a:gd name="T13" fmla="*/ 40 h 368"/>
                  <a:gd name="T14" fmla="*/ 79 w 155"/>
                  <a:gd name="T15" fmla="*/ 328 h 368"/>
                  <a:gd name="T16" fmla="*/ 39 w 155"/>
                  <a:gd name="T17" fmla="*/ 368 h 368"/>
                  <a:gd name="T18" fmla="*/ 155 w 155"/>
                  <a:gd name="T19" fmla="*/ 368 h 368"/>
                  <a:gd name="T20" fmla="*/ 155 w 155"/>
                  <a:gd name="T21" fmla="*/ 253 h 368"/>
                  <a:gd name="T22" fmla="*/ 39 w 155"/>
                  <a:gd name="T23"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9" y="328"/>
                    </a:moveTo>
                    <a:cubicBezTo>
                      <a:pt x="114" y="293"/>
                      <a:pt x="114" y="293"/>
                      <a:pt x="114" y="293"/>
                    </a:cubicBezTo>
                    <a:cubicBezTo>
                      <a:pt x="54" y="233"/>
                      <a:pt x="53" y="135"/>
                      <a:pt x="113" y="74"/>
                    </a:cubicBezTo>
                    <a:cubicBezTo>
                      <a:pt x="154" y="116"/>
                      <a:pt x="154" y="116"/>
                      <a:pt x="154" y="116"/>
                    </a:cubicBezTo>
                    <a:cubicBezTo>
                      <a:pt x="154" y="0"/>
                      <a:pt x="154" y="0"/>
                      <a:pt x="154" y="0"/>
                    </a:cubicBezTo>
                    <a:cubicBezTo>
                      <a:pt x="38" y="0"/>
                      <a:pt x="38" y="0"/>
                      <a:pt x="38" y="0"/>
                    </a:cubicBezTo>
                    <a:cubicBezTo>
                      <a:pt x="78" y="40"/>
                      <a:pt x="78" y="40"/>
                      <a:pt x="78" y="40"/>
                    </a:cubicBezTo>
                    <a:cubicBezTo>
                      <a:pt x="0" y="120"/>
                      <a:pt x="0" y="248"/>
                      <a:pt x="79" y="328"/>
                    </a:cubicBezTo>
                    <a:close/>
                    <a:moveTo>
                      <a:pt x="39" y="368"/>
                    </a:moveTo>
                    <a:cubicBezTo>
                      <a:pt x="155" y="368"/>
                      <a:pt x="155" y="368"/>
                      <a:pt x="155" y="368"/>
                    </a:cubicBezTo>
                    <a:cubicBezTo>
                      <a:pt x="155" y="253"/>
                      <a:pt x="155" y="253"/>
                      <a:pt x="155" y="253"/>
                    </a:cubicBezTo>
                    <a:lnTo>
                      <a:pt x="39" y="368"/>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8" name="Freeform 12"/>
              <p:cNvSpPr>
                <a:spLocks/>
              </p:cNvSpPr>
              <p:nvPr/>
            </p:nvSpPr>
            <p:spPr bwMode="auto">
              <a:xfrm>
                <a:off x="6673181" y="4822906"/>
                <a:ext cx="35564" cy="6059"/>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79" name="Freeform 13"/>
              <p:cNvSpPr>
                <a:spLocks/>
              </p:cNvSpPr>
              <p:nvPr/>
            </p:nvSpPr>
            <p:spPr bwMode="auto">
              <a:xfrm>
                <a:off x="6649946" y="4836754"/>
                <a:ext cx="58799" cy="6491"/>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0" name="Freeform 14"/>
              <p:cNvSpPr>
                <a:spLocks/>
              </p:cNvSpPr>
              <p:nvPr/>
            </p:nvSpPr>
            <p:spPr bwMode="auto">
              <a:xfrm>
                <a:off x="6649946" y="4851035"/>
                <a:ext cx="58799" cy="6491"/>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1" name="Freeform 15"/>
              <p:cNvSpPr>
                <a:spLocks/>
              </p:cNvSpPr>
              <p:nvPr/>
            </p:nvSpPr>
            <p:spPr bwMode="auto">
              <a:xfrm>
                <a:off x="6649946" y="4865316"/>
                <a:ext cx="58799" cy="6059"/>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2" name="Freeform 16"/>
              <p:cNvSpPr>
                <a:spLocks noEditPoints="1"/>
              </p:cNvSpPr>
              <p:nvPr/>
            </p:nvSpPr>
            <p:spPr bwMode="auto">
              <a:xfrm>
                <a:off x="6631927" y="4795210"/>
                <a:ext cx="95785" cy="99966"/>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3" name="Freeform 17"/>
              <p:cNvSpPr>
                <a:spLocks/>
              </p:cNvSpPr>
              <p:nvPr/>
            </p:nvSpPr>
            <p:spPr bwMode="auto">
              <a:xfrm>
                <a:off x="6839619" y="4822906"/>
                <a:ext cx="36038" cy="6059"/>
              </a:xfrm>
              <a:custGeom>
                <a:avLst/>
                <a:gdLst>
                  <a:gd name="T0" fmla="*/ 120 w 133"/>
                  <a:gd name="T1" fmla="*/ 0 h 25"/>
                  <a:gd name="T2" fmla="*/ 12 w 133"/>
                  <a:gd name="T3" fmla="*/ 0 h 25"/>
                  <a:gd name="T4" fmla="*/ 0 w 133"/>
                  <a:gd name="T5" fmla="*/ 13 h 25"/>
                  <a:gd name="T6" fmla="*/ 12 w 133"/>
                  <a:gd name="T7" fmla="*/ 25 h 25"/>
                  <a:gd name="T8" fmla="*/ 120 w 133"/>
                  <a:gd name="T9" fmla="*/ 25 h 25"/>
                  <a:gd name="T10" fmla="*/ 133 w 133"/>
                  <a:gd name="T11" fmla="*/ 13 h 25"/>
                  <a:gd name="T12" fmla="*/ 120 w 133"/>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3" h="25">
                    <a:moveTo>
                      <a:pt x="120" y="0"/>
                    </a:moveTo>
                    <a:cubicBezTo>
                      <a:pt x="12" y="0"/>
                      <a:pt x="12" y="0"/>
                      <a:pt x="12" y="0"/>
                    </a:cubicBezTo>
                    <a:cubicBezTo>
                      <a:pt x="6" y="0"/>
                      <a:pt x="0" y="6"/>
                      <a:pt x="0" y="13"/>
                    </a:cubicBezTo>
                    <a:cubicBezTo>
                      <a:pt x="0" y="20"/>
                      <a:pt x="6" y="25"/>
                      <a:pt x="12" y="25"/>
                    </a:cubicBezTo>
                    <a:cubicBezTo>
                      <a:pt x="120" y="25"/>
                      <a:pt x="120" y="25"/>
                      <a:pt x="120" y="25"/>
                    </a:cubicBezTo>
                    <a:cubicBezTo>
                      <a:pt x="127" y="25"/>
                      <a:pt x="133" y="20"/>
                      <a:pt x="133" y="13"/>
                    </a:cubicBezTo>
                    <a:cubicBezTo>
                      <a:pt x="133" y="6"/>
                      <a:pt x="127" y="0"/>
                      <a:pt x="120"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4" name="Freeform 18"/>
              <p:cNvSpPr>
                <a:spLocks/>
              </p:cNvSpPr>
              <p:nvPr/>
            </p:nvSpPr>
            <p:spPr bwMode="auto">
              <a:xfrm>
                <a:off x="6816858" y="4836754"/>
                <a:ext cx="58799" cy="6491"/>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5" name="Freeform 19"/>
              <p:cNvSpPr>
                <a:spLocks/>
              </p:cNvSpPr>
              <p:nvPr/>
            </p:nvSpPr>
            <p:spPr bwMode="auto">
              <a:xfrm>
                <a:off x="6816858" y="4851035"/>
                <a:ext cx="58799" cy="6491"/>
              </a:xfrm>
              <a:custGeom>
                <a:avLst/>
                <a:gdLst>
                  <a:gd name="T0" fmla="*/ 205 w 218"/>
                  <a:gd name="T1" fmla="*/ 0 h 25"/>
                  <a:gd name="T2" fmla="*/ 12 w 218"/>
                  <a:gd name="T3" fmla="*/ 0 h 25"/>
                  <a:gd name="T4" fmla="*/ 0 w 218"/>
                  <a:gd name="T5" fmla="*/ 12 h 25"/>
                  <a:gd name="T6" fmla="*/ 12 w 218"/>
                  <a:gd name="T7" fmla="*/ 25 h 25"/>
                  <a:gd name="T8" fmla="*/ 205 w 218"/>
                  <a:gd name="T9" fmla="*/ 25 h 25"/>
                  <a:gd name="T10" fmla="*/ 218 w 218"/>
                  <a:gd name="T11" fmla="*/ 12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5"/>
                      <a:pt x="0" y="12"/>
                    </a:cubicBezTo>
                    <a:cubicBezTo>
                      <a:pt x="0" y="19"/>
                      <a:pt x="5" y="25"/>
                      <a:pt x="12" y="25"/>
                    </a:cubicBezTo>
                    <a:cubicBezTo>
                      <a:pt x="205" y="25"/>
                      <a:pt x="205" y="25"/>
                      <a:pt x="205" y="25"/>
                    </a:cubicBezTo>
                    <a:cubicBezTo>
                      <a:pt x="212" y="25"/>
                      <a:pt x="218" y="19"/>
                      <a:pt x="218" y="12"/>
                    </a:cubicBezTo>
                    <a:cubicBezTo>
                      <a:pt x="218" y="5"/>
                      <a:pt x="212" y="0"/>
                      <a:pt x="205"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6" name="Freeform 20"/>
              <p:cNvSpPr>
                <a:spLocks/>
              </p:cNvSpPr>
              <p:nvPr/>
            </p:nvSpPr>
            <p:spPr bwMode="auto">
              <a:xfrm>
                <a:off x="6816858" y="4865316"/>
                <a:ext cx="58799" cy="6059"/>
              </a:xfrm>
              <a:custGeom>
                <a:avLst/>
                <a:gdLst>
                  <a:gd name="T0" fmla="*/ 205 w 218"/>
                  <a:gd name="T1" fmla="*/ 0 h 25"/>
                  <a:gd name="T2" fmla="*/ 12 w 218"/>
                  <a:gd name="T3" fmla="*/ 0 h 25"/>
                  <a:gd name="T4" fmla="*/ 0 w 218"/>
                  <a:gd name="T5" fmla="*/ 13 h 25"/>
                  <a:gd name="T6" fmla="*/ 12 w 218"/>
                  <a:gd name="T7" fmla="*/ 25 h 25"/>
                  <a:gd name="T8" fmla="*/ 205 w 218"/>
                  <a:gd name="T9" fmla="*/ 25 h 25"/>
                  <a:gd name="T10" fmla="*/ 218 w 218"/>
                  <a:gd name="T11" fmla="*/ 13 h 25"/>
                  <a:gd name="T12" fmla="*/ 205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5" y="0"/>
                    </a:moveTo>
                    <a:cubicBezTo>
                      <a:pt x="12" y="0"/>
                      <a:pt x="12" y="0"/>
                      <a:pt x="12" y="0"/>
                    </a:cubicBezTo>
                    <a:cubicBezTo>
                      <a:pt x="5" y="0"/>
                      <a:pt x="0" y="6"/>
                      <a:pt x="0" y="13"/>
                    </a:cubicBezTo>
                    <a:cubicBezTo>
                      <a:pt x="0" y="20"/>
                      <a:pt x="5" y="25"/>
                      <a:pt x="12" y="25"/>
                    </a:cubicBezTo>
                    <a:cubicBezTo>
                      <a:pt x="205" y="25"/>
                      <a:pt x="205" y="25"/>
                      <a:pt x="205" y="25"/>
                    </a:cubicBezTo>
                    <a:cubicBezTo>
                      <a:pt x="212" y="25"/>
                      <a:pt x="218" y="20"/>
                      <a:pt x="218" y="13"/>
                    </a:cubicBezTo>
                    <a:cubicBezTo>
                      <a:pt x="218" y="6"/>
                      <a:pt x="212" y="0"/>
                      <a:pt x="205" y="0"/>
                    </a:cubicBez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7" name="Freeform 21"/>
              <p:cNvSpPr>
                <a:spLocks noEditPoints="1"/>
              </p:cNvSpPr>
              <p:nvPr/>
            </p:nvSpPr>
            <p:spPr bwMode="auto">
              <a:xfrm>
                <a:off x="6798366" y="4795210"/>
                <a:ext cx="95785" cy="99966"/>
              </a:xfrm>
              <a:custGeom>
                <a:avLst/>
                <a:gdLst>
                  <a:gd name="T0" fmla="*/ 333 w 357"/>
                  <a:gd name="T1" fmla="*/ 407 h 407"/>
                  <a:gd name="T2" fmla="*/ 357 w 357"/>
                  <a:gd name="T3" fmla="*/ 407 h 407"/>
                  <a:gd name="T4" fmla="*/ 357 w 357"/>
                  <a:gd name="T5" fmla="*/ 39 h 407"/>
                  <a:gd name="T6" fmla="*/ 316 w 357"/>
                  <a:gd name="T7" fmla="*/ 0 h 407"/>
                  <a:gd name="T8" fmla="*/ 116 w 357"/>
                  <a:gd name="T9" fmla="*/ 0 h 407"/>
                  <a:gd name="T10" fmla="*/ 0 w 357"/>
                  <a:gd name="T11" fmla="*/ 103 h 407"/>
                  <a:gd name="T12" fmla="*/ 0 w 357"/>
                  <a:gd name="T13" fmla="*/ 367 h 407"/>
                  <a:gd name="T14" fmla="*/ 41 w 357"/>
                  <a:gd name="T15" fmla="*/ 407 h 407"/>
                  <a:gd name="T16" fmla="*/ 333 w 357"/>
                  <a:gd name="T17" fmla="*/ 407 h 407"/>
                  <a:gd name="T18" fmla="*/ 52 w 357"/>
                  <a:gd name="T19" fmla="*/ 384 h 407"/>
                  <a:gd name="T20" fmla="*/ 25 w 357"/>
                  <a:gd name="T21" fmla="*/ 356 h 407"/>
                  <a:gd name="T22" fmla="*/ 25 w 357"/>
                  <a:gd name="T23" fmla="*/ 118 h 407"/>
                  <a:gd name="T24" fmla="*/ 96 w 357"/>
                  <a:gd name="T25" fmla="*/ 118 h 407"/>
                  <a:gd name="T26" fmla="*/ 119 w 357"/>
                  <a:gd name="T27" fmla="*/ 113 h 407"/>
                  <a:gd name="T28" fmla="*/ 129 w 357"/>
                  <a:gd name="T29" fmla="*/ 92 h 407"/>
                  <a:gd name="T30" fmla="*/ 129 w 357"/>
                  <a:gd name="T31" fmla="*/ 25 h 407"/>
                  <a:gd name="T32" fmla="*/ 305 w 357"/>
                  <a:gd name="T33" fmla="*/ 25 h 407"/>
                  <a:gd name="T34" fmla="*/ 333 w 357"/>
                  <a:gd name="T35" fmla="*/ 53 h 407"/>
                  <a:gd name="T36" fmla="*/ 333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3" y="407"/>
                    </a:moveTo>
                    <a:cubicBezTo>
                      <a:pt x="357" y="407"/>
                      <a:pt x="357" y="407"/>
                      <a:pt x="357" y="407"/>
                    </a:cubicBezTo>
                    <a:cubicBezTo>
                      <a:pt x="357" y="39"/>
                      <a:pt x="357" y="39"/>
                      <a:pt x="357" y="39"/>
                    </a:cubicBezTo>
                    <a:cubicBezTo>
                      <a:pt x="357" y="16"/>
                      <a:pt x="334" y="0"/>
                      <a:pt x="316" y="0"/>
                    </a:cubicBezTo>
                    <a:cubicBezTo>
                      <a:pt x="116" y="0"/>
                      <a:pt x="116" y="0"/>
                      <a:pt x="116" y="0"/>
                    </a:cubicBezTo>
                    <a:cubicBezTo>
                      <a:pt x="86" y="26"/>
                      <a:pt x="47" y="64"/>
                      <a:pt x="0" y="103"/>
                    </a:cubicBezTo>
                    <a:cubicBezTo>
                      <a:pt x="0" y="367"/>
                      <a:pt x="0" y="367"/>
                      <a:pt x="0" y="367"/>
                    </a:cubicBezTo>
                    <a:cubicBezTo>
                      <a:pt x="0" y="392"/>
                      <a:pt x="22" y="407"/>
                      <a:pt x="41" y="407"/>
                    </a:cubicBezTo>
                    <a:cubicBezTo>
                      <a:pt x="333" y="407"/>
                      <a:pt x="333" y="407"/>
                      <a:pt x="333" y="407"/>
                    </a:cubicBezTo>
                    <a:close/>
                    <a:moveTo>
                      <a:pt x="52" y="384"/>
                    </a:moveTo>
                    <a:cubicBezTo>
                      <a:pt x="37" y="384"/>
                      <a:pt x="25" y="372"/>
                      <a:pt x="25" y="356"/>
                    </a:cubicBezTo>
                    <a:cubicBezTo>
                      <a:pt x="25" y="118"/>
                      <a:pt x="25" y="118"/>
                      <a:pt x="25" y="118"/>
                    </a:cubicBezTo>
                    <a:cubicBezTo>
                      <a:pt x="96" y="118"/>
                      <a:pt x="96" y="118"/>
                      <a:pt x="96" y="118"/>
                    </a:cubicBezTo>
                    <a:cubicBezTo>
                      <a:pt x="96" y="118"/>
                      <a:pt x="112" y="117"/>
                      <a:pt x="119" y="113"/>
                    </a:cubicBezTo>
                    <a:cubicBezTo>
                      <a:pt x="130" y="106"/>
                      <a:pt x="129" y="92"/>
                      <a:pt x="129" y="92"/>
                    </a:cubicBezTo>
                    <a:cubicBezTo>
                      <a:pt x="129" y="25"/>
                      <a:pt x="129" y="25"/>
                      <a:pt x="129" y="25"/>
                    </a:cubicBezTo>
                    <a:cubicBezTo>
                      <a:pt x="305" y="25"/>
                      <a:pt x="305" y="25"/>
                      <a:pt x="305" y="25"/>
                    </a:cubicBezTo>
                    <a:cubicBezTo>
                      <a:pt x="320" y="25"/>
                      <a:pt x="333" y="37"/>
                      <a:pt x="333" y="53"/>
                    </a:cubicBezTo>
                    <a:cubicBezTo>
                      <a:pt x="333" y="384"/>
                      <a:pt x="333" y="384"/>
                      <a:pt x="333" y="384"/>
                    </a:cubicBezTo>
                    <a:lnTo>
                      <a:pt x="52" y="384"/>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8" name="Freeform 22"/>
              <p:cNvSpPr>
                <a:spLocks/>
              </p:cNvSpPr>
              <p:nvPr/>
            </p:nvSpPr>
            <p:spPr bwMode="auto">
              <a:xfrm>
                <a:off x="6735299" y="4827666"/>
                <a:ext cx="21812" cy="40679"/>
              </a:xfrm>
              <a:custGeom>
                <a:avLst/>
                <a:gdLst>
                  <a:gd name="T0" fmla="*/ 46 w 46"/>
                  <a:gd name="T1" fmla="*/ 0 h 94"/>
                  <a:gd name="T2" fmla="*/ 0 w 46"/>
                  <a:gd name="T3" fmla="*/ 47 h 94"/>
                  <a:gd name="T4" fmla="*/ 46 w 46"/>
                  <a:gd name="T5" fmla="*/ 94 h 94"/>
                  <a:gd name="T6" fmla="*/ 46 w 46"/>
                  <a:gd name="T7" fmla="*/ 0 h 94"/>
                </a:gdLst>
                <a:ahLst/>
                <a:cxnLst>
                  <a:cxn ang="0">
                    <a:pos x="T0" y="T1"/>
                  </a:cxn>
                  <a:cxn ang="0">
                    <a:pos x="T2" y="T3"/>
                  </a:cxn>
                  <a:cxn ang="0">
                    <a:pos x="T4" y="T5"/>
                  </a:cxn>
                  <a:cxn ang="0">
                    <a:pos x="T6" y="T7"/>
                  </a:cxn>
                </a:cxnLst>
                <a:rect l="0" t="0" r="r" b="b"/>
                <a:pathLst>
                  <a:path w="46" h="94">
                    <a:moveTo>
                      <a:pt x="46" y="0"/>
                    </a:moveTo>
                    <a:lnTo>
                      <a:pt x="0" y="47"/>
                    </a:lnTo>
                    <a:lnTo>
                      <a:pt x="46" y="94"/>
                    </a:lnTo>
                    <a:lnTo>
                      <a:pt x="46"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89" name="Freeform 23"/>
              <p:cNvSpPr>
                <a:spLocks/>
              </p:cNvSpPr>
              <p:nvPr/>
            </p:nvSpPr>
            <p:spPr bwMode="auto">
              <a:xfrm>
                <a:off x="6768018" y="4827666"/>
                <a:ext cx="21812" cy="40679"/>
              </a:xfrm>
              <a:custGeom>
                <a:avLst/>
                <a:gdLst>
                  <a:gd name="T0" fmla="*/ 0 w 46"/>
                  <a:gd name="T1" fmla="*/ 94 h 94"/>
                  <a:gd name="T2" fmla="*/ 46 w 46"/>
                  <a:gd name="T3" fmla="*/ 47 h 94"/>
                  <a:gd name="T4" fmla="*/ 0 w 46"/>
                  <a:gd name="T5" fmla="*/ 0 h 94"/>
                  <a:gd name="T6" fmla="*/ 0 w 46"/>
                  <a:gd name="T7" fmla="*/ 94 h 94"/>
                </a:gdLst>
                <a:ahLst/>
                <a:cxnLst>
                  <a:cxn ang="0">
                    <a:pos x="T0" y="T1"/>
                  </a:cxn>
                  <a:cxn ang="0">
                    <a:pos x="T2" y="T3"/>
                  </a:cxn>
                  <a:cxn ang="0">
                    <a:pos x="T4" y="T5"/>
                  </a:cxn>
                  <a:cxn ang="0">
                    <a:pos x="T6" y="T7"/>
                  </a:cxn>
                </a:cxnLst>
                <a:rect l="0" t="0" r="r" b="b"/>
                <a:pathLst>
                  <a:path w="46" h="94">
                    <a:moveTo>
                      <a:pt x="0" y="94"/>
                    </a:moveTo>
                    <a:lnTo>
                      <a:pt x="46" y="47"/>
                    </a:lnTo>
                    <a:lnTo>
                      <a:pt x="0" y="0"/>
                    </a:lnTo>
                    <a:lnTo>
                      <a:pt x="0" y="94"/>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sp>
            <p:nvSpPr>
              <p:cNvPr id="90" name="Freeform 24"/>
              <p:cNvSpPr>
                <a:spLocks noEditPoints="1"/>
              </p:cNvSpPr>
              <p:nvPr/>
            </p:nvSpPr>
            <p:spPr bwMode="auto">
              <a:xfrm>
                <a:off x="6906005" y="4706928"/>
                <a:ext cx="41728" cy="90013"/>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marL="0" marR="0" lvl="0" indent="0" algn="ctr" defTabSz="108597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smtClean="0">
                  <a:ln>
                    <a:noFill/>
                  </a:ln>
                  <a:solidFill>
                    <a:srgbClr val="505050"/>
                  </a:solidFill>
                  <a:effectLst/>
                  <a:uLnTx/>
                  <a:uFillTx/>
                </a:endParaRPr>
              </a:p>
            </p:txBody>
          </p:sp>
        </p:grpSp>
        <p:sp>
          <p:nvSpPr>
            <p:cNvPr id="70" name="Rectangle 69"/>
            <p:cNvSpPr/>
            <p:nvPr/>
          </p:nvSpPr>
          <p:spPr bwMode="auto">
            <a:xfrm>
              <a:off x="5034957" y="4595422"/>
              <a:ext cx="1376075" cy="1806845"/>
            </a:xfrm>
            <a:prstGeom prst="rect">
              <a:avLst/>
            </a:prstGeom>
            <a:solidFill>
              <a:srgbClr val="00BCF2"/>
            </a:solidFill>
            <a:ln w="10795" cap="flat" cmpd="sng" algn="ctr">
              <a:noFill/>
              <a:prstDash val="solid"/>
              <a:headEnd type="none" w="med" len="med"/>
              <a:tailEnd type="none" w="med" len="med"/>
            </a:ln>
            <a:effectLst/>
          </p:spPr>
          <p:txBody>
            <a:bodyPr vert="horz" wrap="square" lIns="182511" tIns="456270" rIns="182511" bIns="45626" numCol="1" rtlCol="0" anchor="t" anchorCtr="0" compatLnSpc="1">
              <a:prstTxWarp prst="textNoShape">
                <a:avLst/>
              </a:prstTxWarp>
            </a:bodyPr>
            <a:lstStyle/>
            <a:p>
              <a:pPr marL="0" marR="0" lvl="0" indent="0" algn="ctr" defTabSz="912148" eaLnBrk="1" fontAlgn="base" latinLnBrk="0" hangingPunct="1">
                <a:lnSpc>
                  <a:spcPct val="100000"/>
                </a:lnSpc>
                <a:spcBef>
                  <a:spcPct val="0"/>
                </a:spcBef>
                <a:spcAft>
                  <a:spcPct val="0"/>
                </a:spcAft>
                <a:buClrTx/>
                <a:buSzTx/>
                <a:buFontTx/>
                <a:buNone/>
                <a:tabLst/>
                <a:defRPr/>
              </a:pPr>
              <a:r>
                <a:rPr kumimoji="0" lang="zh-TW" alt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可信任的訊息傳遞</a:t>
              </a:r>
              <a:endPar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endParaRPr>
            </a:p>
          </p:txBody>
        </p:sp>
      </p:grpSp>
      <p:sp>
        <p:nvSpPr>
          <p:cNvPr id="91" name="Rectangle 90"/>
          <p:cNvSpPr/>
          <p:nvPr/>
        </p:nvSpPr>
        <p:spPr bwMode="auto">
          <a:xfrm>
            <a:off x="2411034" y="1920946"/>
            <a:ext cx="7087569" cy="566509"/>
          </a:xfrm>
          <a:prstGeom prst="rect">
            <a:avLst/>
          </a:prstGeom>
          <a:solidFill>
            <a:srgbClr val="00BCF2"/>
          </a:solidFill>
          <a:ln w="10795" cap="flat" cmpd="sng" algn="ctr">
            <a:noFill/>
            <a:prstDash val="solid"/>
            <a:headEnd type="none" w="med" len="med"/>
            <a:tailEnd type="none" w="med" len="med"/>
          </a:ln>
          <a:effectLst/>
        </p:spPr>
        <p:txBody>
          <a:bodyPr vert="horz" wrap="square" lIns="182693" tIns="45626" rIns="182511" bIns="45626" numCol="1" rtlCol="0" anchor="ctr"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r>
              <a:rPr kumimoji="0" lang="zh-TW" altLang="en-US" sz="1961"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自助式服務</a:t>
            </a:r>
            <a:r>
              <a:rPr kumimoji="0" lang="en-US" sz="1961"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Self-service user experience / OData REST API</a:t>
            </a:r>
          </a:p>
        </p:txBody>
      </p:sp>
      <p:grpSp>
        <p:nvGrpSpPr>
          <p:cNvPr id="92" name="Group 91"/>
          <p:cNvGrpSpPr/>
          <p:nvPr/>
        </p:nvGrpSpPr>
        <p:grpSpPr>
          <a:xfrm>
            <a:off x="6712214" y="2706863"/>
            <a:ext cx="1348834" cy="3548291"/>
            <a:chOff x="7336020" y="2782312"/>
            <a:chExt cx="1376076" cy="3619956"/>
          </a:xfrm>
        </p:grpSpPr>
        <p:sp>
          <p:nvSpPr>
            <p:cNvPr id="93" name="Rectangle 92"/>
            <p:cNvSpPr/>
            <p:nvPr/>
          </p:nvSpPr>
          <p:spPr bwMode="auto">
            <a:xfrm>
              <a:off x="7336020" y="2782312"/>
              <a:ext cx="1376075" cy="1813110"/>
            </a:xfrm>
            <a:prstGeom prst="rect">
              <a:avLst/>
            </a:prstGeom>
            <a:solidFill>
              <a:srgbClr val="0072C6"/>
            </a:solidFill>
            <a:ln w="10795" cap="flat" cmpd="sng" algn="ctr">
              <a:noFill/>
              <a:prstDash val="solid"/>
              <a:headEnd type="none" w="med" len="med"/>
              <a:tailEnd type="none" w="med" len="med"/>
            </a:ln>
            <a:effectLst/>
          </p:spPr>
          <p:txBody>
            <a:bodyPr vert="horz" wrap="square" lIns="91250" tIns="45626" rIns="182511" bIns="45626" numCol="1" rtlCol="0" anchor="t"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endPar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endParaRPr>
            </a:p>
            <a:p>
              <a:pPr marL="0" marR="0" lvl="0" indent="0" algn="ctr" defTabSz="912148" eaLnBrk="1" fontAlgn="base" latinLnBrk="0" hangingPunct="1">
                <a:lnSpc>
                  <a:spcPct val="90000"/>
                </a:lnSpc>
                <a:spcBef>
                  <a:spcPct val="0"/>
                </a:spcBef>
                <a:spcAft>
                  <a:spcPct val="0"/>
                </a:spcAft>
                <a:buClrTx/>
                <a:buSzTx/>
                <a:buFontTx/>
                <a:buNone/>
                <a:tabLst/>
                <a:defRPr/>
              </a:pPr>
              <a:r>
                <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Virtual Networks</a:t>
              </a:r>
            </a:p>
          </p:txBody>
        </p:sp>
        <p:sp>
          <p:nvSpPr>
            <p:cNvPr id="94" name="Freeform 78"/>
            <p:cNvSpPr>
              <a:spLocks noEditPoints="1"/>
            </p:cNvSpPr>
            <p:nvPr/>
          </p:nvSpPr>
          <p:spPr bwMode="black">
            <a:xfrm>
              <a:off x="7647055" y="3576016"/>
              <a:ext cx="759022" cy="683407"/>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79003" tIns="39504" rIns="79003" bIns="39504" numCol="1" anchor="t" anchorCtr="0" compatLnSpc="1">
              <a:prstTxWarp prst="textNoShape">
                <a:avLst/>
              </a:prstTxWarp>
            </a:bodyPr>
            <a:lstStyle/>
            <a:p>
              <a:pPr marL="0" marR="0" lvl="0" indent="0" defTabSz="657211" eaLnBrk="1" fontAlgn="auto" latinLnBrk="0" hangingPunct="1">
                <a:lnSpc>
                  <a:spcPct val="100000"/>
                </a:lnSpc>
                <a:spcBef>
                  <a:spcPts val="0"/>
                </a:spcBef>
                <a:spcAft>
                  <a:spcPts val="0"/>
                </a:spcAft>
                <a:buClrTx/>
                <a:buSzTx/>
                <a:buFontTx/>
                <a:buNone/>
                <a:tabLst/>
                <a:defRPr/>
              </a:pPr>
              <a:endParaRPr kumimoji="0" lang="en-US" sz="686" b="0" i="0" u="none" strike="noStrike" kern="0" cap="none" spc="0" normalizeH="0" baseline="0" noProof="0" dirty="0" smtClean="0">
                <a:ln>
                  <a:noFill/>
                </a:ln>
                <a:solidFill>
                  <a:srgbClr val="FFFFFF"/>
                </a:solidFill>
                <a:effectLst/>
                <a:uLnTx/>
                <a:uFillTx/>
              </a:endParaRPr>
            </a:p>
          </p:txBody>
        </p:sp>
        <p:sp>
          <p:nvSpPr>
            <p:cNvPr id="95" name="Rectangle 94"/>
            <p:cNvSpPr/>
            <p:nvPr/>
          </p:nvSpPr>
          <p:spPr bwMode="auto">
            <a:xfrm>
              <a:off x="7336021" y="4595422"/>
              <a:ext cx="1376075" cy="1806846"/>
            </a:xfrm>
            <a:prstGeom prst="rect">
              <a:avLst/>
            </a:prstGeom>
            <a:solidFill>
              <a:srgbClr val="00BCF2"/>
            </a:solidFill>
            <a:ln w="10795" cap="flat" cmpd="sng" algn="ctr">
              <a:noFill/>
              <a:prstDash val="solid"/>
              <a:headEnd type="none" w="med" len="med"/>
              <a:tailEnd type="none" w="med" len="med"/>
            </a:ln>
            <a:effectLst/>
          </p:spPr>
          <p:txBody>
            <a:bodyPr vert="horz" wrap="square" lIns="182511" tIns="456270" rIns="182511" bIns="45626" numCol="1" rtlCol="0" anchor="t" anchorCtr="0" compatLnSpc="1">
              <a:prstTxWarp prst="textNoShape">
                <a:avLst/>
              </a:prstTxWarp>
            </a:bodyPr>
            <a:lstStyle/>
            <a:p>
              <a:pPr marL="0" marR="0" lvl="0" indent="0" algn="ctr" defTabSz="912148" eaLnBrk="1" fontAlgn="base" latinLnBrk="0" hangingPunct="1">
                <a:lnSpc>
                  <a:spcPct val="100000"/>
                </a:lnSpc>
                <a:spcBef>
                  <a:spcPct val="0"/>
                </a:spcBef>
                <a:spcAft>
                  <a:spcPct val="0"/>
                </a:spcAft>
                <a:buClrTx/>
                <a:buSzTx/>
                <a:buFontTx/>
                <a:buNone/>
                <a:tabLst/>
                <a:defRPr/>
              </a:pPr>
              <a:r>
                <a:rPr kumimoji="0" lang="zh-TW" alt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虛擬網路</a:t>
              </a:r>
              <a:endPar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endParaRPr>
            </a:p>
          </p:txBody>
        </p:sp>
      </p:grpSp>
      <p:grpSp>
        <p:nvGrpSpPr>
          <p:cNvPr id="96" name="Group 95"/>
          <p:cNvGrpSpPr/>
          <p:nvPr/>
        </p:nvGrpSpPr>
        <p:grpSpPr>
          <a:xfrm>
            <a:off x="8149771" y="2699578"/>
            <a:ext cx="1348834" cy="3555575"/>
            <a:chOff x="9644227" y="2782347"/>
            <a:chExt cx="1376076" cy="3627387"/>
          </a:xfrm>
        </p:grpSpPr>
        <p:sp>
          <p:nvSpPr>
            <p:cNvPr id="97" name="Rectangle 96"/>
            <p:cNvSpPr/>
            <p:nvPr/>
          </p:nvSpPr>
          <p:spPr bwMode="auto">
            <a:xfrm>
              <a:off x="9644227" y="2782347"/>
              <a:ext cx="1376075" cy="1820541"/>
            </a:xfrm>
            <a:prstGeom prst="rect">
              <a:avLst/>
            </a:prstGeom>
            <a:solidFill>
              <a:srgbClr val="0072C6"/>
            </a:solidFill>
            <a:ln w="10795" cap="flat" cmpd="sng" algn="ctr">
              <a:noFill/>
              <a:prstDash val="solid"/>
              <a:headEnd type="none" w="med" len="med"/>
              <a:tailEnd type="none" w="med" len="med"/>
            </a:ln>
            <a:effectLst/>
          </p:spPr>
          <p:txBody>
            <a:bodyPr vert="horz" wrap="square" lIns="91250" tIns="45626" rIns="182511" bIns="45626" numCol="1" rtlCol="0" anchor="t" anchorCtr="0" compatLnSpc="1">
              <a:prstTxWarp prst="textNoShape">
                <a:avLst/>
              </a:prstTxWarp>
            </a:bodyPr>
            <a:lstStyle/>
            <a:p>
              <a:pPr marL="0" marR="0" lvl="0" indent="0" algn="ctr" defTabSz="912148" eaLnBrk="1" fontAlgn="base" latinLnBrk="0" hangingPunct="1">
                <a:lnSpc>
                  <a:spcPct val="90000"/>
                </a:lnSpc>
                <a:spcBef>
                  <a:spcPct val="0"/>
                </a:spcBef>
                <a:spcAft>
                  <a:spcPct val="0"/>
                </a:spcAft>
                <a:buClrTx/>
                <a:buSzTx/>
                <a:buFontTx/>
                <a:buNone/>
                <a:tabLst/>
                <a:defRPr/>
              </a:pPr>
              <a:endPar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endParaRPr>
            </a:p>
            <a:p>
              <a:pPr marL="0" marR="0" lvl="0" indent="0" algn="ctr" defTabSz="912148" eaLnBrk="1" fontAlgn="base" latinLnBrk="0" hangingPunct="1">
                <a:lnSpc>
                  <a:spcPct val="90000"/>
                </a:lnSpc>
                <a:spcBef>
                  <a:spcPct val="0"/>
                </a:spcBef>
                <a:spcAft>
                  <a:spcPct val="0"/>
                </a:spcAft>
                <a:buClrTx/>
                <a:buSzTx/>
                <a:buFontTx/>
                <a:buNone/>
                <a:tabLst/>
                <a:defRPr/>
              </a:pPr>
              <a:r>
                <a:rPr kumimoji="0" lang="en-US" sz="1567" b="0" i="0" u="none" strike="noStrike" kern="0" cap="none" spc="-50" normalizeH="0" baseline="0" noProof="0" dirty="0" smtClean="0">
                  <a:ln>
                    <a:noFill/>
                  </a:ln>
                  <a:gradFill>
                    <a:gsLst>
                      <a:gs pos="0">
                        <a:srgbClr val="EFEFEF"/>
                      </a:gs>
                      <a:gs pos="100000">
                        <a:srgbClr val="EFEFEF"/>
                      </a:gs>
                    </a:gsLst>
                    <a:lin ang="5400000" scaled="0"/>
                  </a:gradFill>
                  <a:effectLst/>
                  <a:uLnTx/>
                  <a:uFillTx/>
                  <a:latin typeface="Segoe UI"/>
                  <a:ea typeface="+mn-ea"/>
                  <a:cs typeface="+mn-cs"/>
                </a:rPr>
                <a:t>Database</a:t>
              </a:r>
            </a:p>
          </p:txBody>
        </p:sp>
        <p:sp>
          <p:nvSpPr>
            <p:cNvPr id="98" name="Freeform 30"/>
            <p:cNvSpPr>
              <a:spLocks noEditPoints="1"/>
            </p:cNvSpPr>
            <p:nvPr/>
          </p:nvSpPr>
          <p:spPr bwMode="auto">
            <a:xfrm flipH="1">
              <a:off x="9982943" y="3544529"/>
              <a:ext cx="698641" cy="746383"/>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87801" tIns="43901" rIns="87801" bIns="43901" numCol="1" anchor="t" anchorCtr="0" compatLnSpc="1">
              <a:prstTxWarp prst="textNoShape">
                <a:avLst/>
              </a:prstTxWarp>
            </a:bodyPr>
            <a:lstStyle/>
            <a:p>
              <a:pPr marL="0" marR="0" lvl="0" indent="0" defTabSz="895279" eaLnBrk="1" fontAlgn="auto" latinLnBrk="0" hangingPunct="1">
                <a:lnSpc>
                  <a:spcPct val="100000"/>
                </a:lnSpc>
                <a:spcBef>
                  <a:spcPts val="0"/>
                </a:spcBef>
                <a:spcAft>
                  <a:spcPts val="0"/>
                </a:spcAft>
                <a:buClrTx/>
                <a:buSzTx/>
                <a:buFontTx/>
                <a:buNone/>
                <a:tabLst/>
                <a:defRPr/>
              </a:pPr>
              <a:endParaRPr kumimoji="0" lang="en-US" sz="1371" b="0" i="0" u="none" strike="noStrike" kern="0" cap="none" spc="0" normalizeH="0" baseline="0" noProof="0" smtClean="0">
                <a:ln>
                  <a:noFill/>
                </a:ln>
                <a:solidFill>
                  <a:srgbClr val="505050"/>
                </a:solidFill>
                <a:effectLst/>
                <a:uLnTx/>
                <a:uFillTx/>
              </a:endParaRPr>
            </a:p>
          </p:txBody>
        </p:sp>
        <p:sp>
          <p:nvSpPr>
            <p:cNvPr id="99" name="Rectangle 98"/>
            <p:cNvSpPr/>
            <p:nvPr/>
          </p:nvSpPr>
          <p:spPr bwMode="auto">
            <a:xfrm>
              <a:off x="9644228" y="4602888"/>
              <a:ext cx="1376075" cy="1806846"/>
            </a:xfrm>
            <a:prstGeom prst="rect">
              <a:avLst/>
            </a:prstGeom>
            <a:solidFill>
              <a:srgbClr val="00BCF2"/>
            </a:solidFill>
            <a:ln w="10795" cap="flat" cmpd="sng" algn="ctr">
              <a:noFill/>
              <a:prstDash val="solid"/>
              <a:headEnd type="none" w="med" len="med"/>
              <a:tailEnd type="none" w="med" len="med"/>
            </a:ln>
            <a:effectLst/>
          </p:spPr>
          <p:txBody>
            <a:bodyPr vert="horz" wrap="square" lIns="182511" tIns="456270" rIns="182511" bIns="45626" numCol="1" rtlCol="0" anchor="t" anchorCtr="0" compatLnSpc="1">
              <a:prstTxWarp prst="textNoShape">
                <a:avLst/>
              </a:prstTxWarp>
            </a:bodyPr>
            <a:lstStyle/>
            <a:p>
              <a:pPr marL="0" marR="0" lvl="0" indent="0" algn="ctr" defTabSz="912148" eaLnBrk="1" fontAlgn="base" latinLnBrk="0" hangingPunct="1">
                <a:lnSpc>
                  <a:spcPct val="100000"/>
                </a:lnSpc>
                <a:spcBef>
                  <a:spcPct val="0"/>
                </a:spcBef>
                <a:spcAft>
                  <a:spcPct val="0"/>
                </a:spcAft>
                <a:buClrTx/>
                <a:buSzTx/>
                <a:buFontTx/>
                <a:buNone/>
                <a:tabLst/>
                <a:defRPr/>
              </a:pPr>
              <a:r>
                <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S</a:t>
              </a:r>
              <a:r>
                <a:rPr kumimoji="0" lang="en-US" altLang="zh-TW"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QL</a:t>
              </a:r>
              <a:r>
                <a:rPr kumimoji="0" lang="zh-TW" alt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rPr>
                <a:t>資料庫雲</a:t>
              </a:r>
              <a:endParaRPr kumimoji="0" lang="en-US" sz="1371" b="0" i="0" u="none" strike="noStrike" kern="0" cap="none" spc="-50" normalizeH="0" baseline="0" noProof="0" dirty="0" smtClean="0">
                <a:ln>
                  <a:noFill/>
                </a:ln>
                <a:solidFill>
                  <a:srgbClr val="FFFFFE"/>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7983644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304" y="286381"/>
            <a:ext cx="11151917" cy="794064"/>
          </a:xfrm>
        </p:spPr>
        <p:txBody>
          <a:bodyPr/>
          <a:lstStyle/>
          <a:p>
            <a:r>
              <a:rPr lang="zh-TW" altLang="en-US" sz="4400" dirty="0" smtClean="0"/>
              <a:t>自助</a:t>
            </a:r>
            <a:r>
              <a:rPr lang="zh-TW" altLang="en-US" sz="4400" dirty="0"/>
              <a:t>式</a:t>
            </a:r>
            <a:r>
              <a:rPr lang="zh-TW" altLang="en-US" sz="4400" dirty="0" smtClean="0"/>
              <a:t>雲端服務平台</a:t>
            </a:r>
            <a:endParaRPr lang="zh-TW" altLang="en-US" sz="4400" dirty="0"/>
          </a:p>
        </p:txBody>
      </p:sp>
      <p:sp>
        <p:nvSpPr>
          <p:cNvPr id="8" name="標題 1"/>
          <p:cNvSpPr txBox="1">
            <a:spLocks/>
          </p:cNvSpPr>
          <p:nvPr/>
        </p:nvSpPr>
        <p:spPr>
          <a:xfrm>
            <a:off x="434304" y="1230786"/>
            <a:ext cx="2809937" cy="4450449"/>
          </a:xfrm>
          <a:prstGeom prst="rect">
            <a:avLst/>
          </a:prstGeom>
        </p:spPr>
        <p:txBody>
          <a:bodyPr vert="horz" wrap="square" lIns="146304" tIns="91440" rIns="146304" bIns="91440" rtlCol="0" anchor="t">
            <a:sp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zh-TW" altLang="en-US" sz="2800" dirty="0" smtClean="0"/>
              <a:t/>
            </a:r>
            <a:br>
              <a:rPr lang="zh-TW" altLang="en-US" sz="2800" dirty="0" smtClean="0"/>
            </a:br>
            <a:r>
              <a:rPr lang="en-US" altLang="zh-TW" sz="2800" dirty="0" smtClean="0"/>
              <a:t>- </a:t>
            </a:r>
            <a:r>
              <a:rPr lang="zh-TW" altLang="en-US" sz="2800" dirty="0" smtClean="0"/>
              <a:t>可依使用者需求設定可存取的</a:t>
            </a:r>
            <a:r>
              <a:rPr lang="en-US" altLang="zh-TW" sz="2800" dirty="0" smtClean="0"/>
              <a:t>VM</a:t>
            </a:r>
            <a:r>
              <a:rPr lang="zh-TW" altLang="en-US" sz="2800" dirty="0" smtClean="0"/>
              <a:t>範本</a:t>
            </a:r>
            <a:r>
              <a:rPr lang="en-US" altLang="zh-TW" sz="2800" dirty="0" smtClean="0"/>
              <a:t>:</a:t>
            </a:r>
          </a:p>
          <a:p>
            <a:endParaRPr lang="en-US" altLang="zh-TW" sz="2800" dirty="0" smtClean="0"/>
          </a:p>
          <a:p>
            <a:pPr marL="457200" indent="-457200">
              <a:buFont typeface="Arial" panose="020B0604020202020204" pitchFamily="34" charset="0"/>
              <a:buChar char="•"/>
            </a:pPr>
            <a:r>
              <a:rPr lang="zh-TW" altLang="en-US" sz="2800" dirty="0" smtClean="0"/>
              <a:t>硬體設定檔</a:t>
            </a:r>
            <a:endParaRPr lang="en-US" altLang="zh-TW" sz="2800" dirty="0" smtClean="0"/>
          </a:p>
          <a:p>
            <a:pPr marL="457200" indent="-457200">
              <a:buFont typeface="Arial" panose="020B0604020202020204" pitchFamily="34" charset="0"/>
              <a:buChar char="•"/>
            </a:pPr>
            <a:r>
              <a:rPr lang="zh-TW" altLang="en-US" sz="2800" dirty="0" smtClean="0"/>
              <a:t>資料庫</a:t>
            </a:r>
            <a:endParaRPr lang="en-US" altLang="zh-TW" sz="2800" dirty="0" smtClean="0"/>
          </a:p>
          <a:p>
            <a:pPr marL="457200" indent="-457200">
              <a:buFont typeface="Arial" panose="020B0604020202020204" pitchFamily="34" charset="0"/>
              <a:buChar char="•"/>
            </a:pPr>
            <a:r>
              <a:rPr lang="zh-TW" altLang="en-US" sz="2800" dirty="0" smtClean="0"/>
              <a:t>網站</a:t>
            </a:r>
            <a:endParaRPr lang="en-US" altLang="zh-TW" sz="2800" dirty="0" smtClean="0"/>
          </a:p>
          <a:p>
            <a:pPr marL="457200" indent="-457200">
              <a:buFont typeface="Arial" panose="020B0604020202020204" pitchFamily="34" charset="0"/>
              <a:buChar char="•"/>
            </a:pPr>
            <a:endParaRPr lang="en-US" altLang="zh-TW" sz="2800" dirty="0"/>
          </a:p>
          <a:p>
            <a:r>
              <a:rPr lang="en-US" altLang="zh-TW" sz="2800" dirty="0" smtClean="0"/>
              <a:t>-</a:t>
            </a:r>
            <a:r>
              <a:rPr lang="zh-TW" altLang="en-US" sz="2800" dirty="0" smtClean="0"/>
              <a:t>快速產生用戶所需環境</a:t>
            </a:r>
            <a:endParaRPr lang="zh-TW" altLang="en-US" sz="2800"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70126" y="1080445"/>
            <a:ext cx="8233775" cy="5691517"/>
          </a:xfrm>
          <a:prstGeom prst="rect">
            <a:avLst/>
          </a:prstGeom>
        </p:spPr>
      </p:pic>
    </p:spTree>
    <p:extLst>
      <p:ext uri="{BB962C8B-B14F-4D97-AF65-F5344CB8AC3E}">
        <p14:creationId xmlns:p14="http://schemas.microsoft.com/office/powerpoint/2010/main" val="82516508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86381"/>
            <a:ext cx="11467649" cy="794064"/>
          </a:xfrm>
        </p:spPr>
        <p:txBody>
          <a:bodyPr vert="horz" wrap="square" lIns="146304" tIns="91440" rIns="146304" bIns="91440" rtlCol="0" anchor="t">
            <a:spAutoFit/>
          </a:bodyPr>
          <a:lstStyle/>
          <a:p>
            <a:r>
              <a:rPr lang="zh-TW" altLang="en-US" sz="4400" dirty="0" smtClean="0"/>
              <a:t>開發人員可使用此平</a:t>
            </a:r>
            <a:r>
              <a:rPr lang="zh-TW" altLang="en-US" sz="4400" dirty="0"/>
              <a:t>台</a:t>
            </a:r>
            <a:r>
              <a:rPr lang="zh-TW" altLang="en-US" sz="4400" dirty="0" smtClean="0"/>
              <a:t>產生網站</a:t>
            </a:r>
            <a:endParaRPr lang="zh-TW" altLang="en-US" sz="4400" dirty="0"/>
          </a:p>
        </p:txBody>
      </p:sp>
      <p:sp>
        <p:nvSpPr>
          <p:cNvPr id="6"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zh-TW" altLang="en-US"/>
          </a:p>
        </p:txBody>
      </p:sp>
      <p:graphicFrame>
        <p:nvGraphicFramePr>
          <p:cNvPr id="7" name="Object 6"/>
          <p:cNvGraphicFramePr>
            <a:graphicFrameLocks noChangeAspect="1"/>
          </p:cNvGraphicFramePr>
          <p:nvPr>
            <p:extLst/>
          </p:nvPr>
        </p:nvGraphicFramePr>
        <p:xfrm>
          <a:off x="1177447" y="1080445"/>
          <a:ext cx="8694404" cy="4574232"/>
        </p:xfrm>
        <a:graphic>
          <a:graphicData uri="http://schemas.openxmlformats.org/presentationml/2006/ole">
            <mc:AlternateContent xmlns:mc="http://schemas.openxmlformats.org/markup-compatibility/2006">
              <mc:Choice xmlns:v="urn:schemas-microsoft-com:vml" Requires="v">
                <p:oleObj spid="_x0000_s3083" name="Bitmap Image" r:id="rId3" imgW="9030961" imgH="4753639" progId="Paint.Picture">
                  <p:embed/>
                </p:oleObj>
              </mc:Choice>
              <mc:Fallback>
                <p:oleObj name="Bitmap Image" r:id="rId3" imgW="9030961" imgH="4753639" progId="Paint.Picture">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7447" y="1080445"/>
                        <a:ext cx="8694404" cy="4574232"/>
                      </a:xfrm>
                      <a:prstGeom prst="rect">
                        <a:avLst/>
                      </a:prstGeom>
                      <a:noFill/>
                    </p:spPr>
                  </p:pic>
                </p:oleObj>
              </mc:Fallback>
            </mc:AlternateContent>
          </a:graphicData>
        </a:graphic>
      </p:graphicFrame>
      <p:pic>
        <p:nvPicPr>
          <p:cNvPr id="9" name="Picture 2"/>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5524649" y="3144786"/>
            <a:ext cx="4702182" cy="3396397"/>
          </a:xfrm>
          <a:prstGeom prst="rect">
            <a:avLst/>
          </a:prstGeom>
          <a:ln w="12700" cap="sq">
            <a:solidFill>
              <a:srgbClr val="D2D2D2"/>
            </a:solidFill>
            <a:prstDash val="solid"/>
            <a:miter lim="800000"/>
          </a:ln>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492295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207568" y="0"/>
            <a:ext cx="7776864" cy="6888080"/>
          </a:xfrm>
          <a:prstGeom prst="rect">
            <a:avLst/>
          </a:prstGeom>
        </p:spPr>
      </p:pic>
    </p:spTree>
    <p:extLst>
      <p:ext uri="{BB962C8B-B14F-4D97-AF65-F5344CB8AC3E}">
        <p14:creationId xmlns:p14="http://schemas.microsoft.com/office/powerpoint/2010/main" val="4269926737"/>
      </p:ext>
    </p:extLst>
  </p:cSld>
  <p:clrMapOvr>
    <a:masterClrMapping/>
  </p:clrMapOvr>
  <p:transition>
    <p:strips dir="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39" y="286381"/>
            <a:ext cx="11151917" cy="794064"/>
          </a:xfrm>
        </p:spPr>
        <p:txBody>
          <a:bodyPr/>
          <a:lstStyle/>
          <a:p>
            <a:r>
              <a:rPr lang="zh-TW" altLang="en-US" sz="4400" dirty="0" smtClean="0"/>
              <a:t>資料庫人員可使</a:t>
            </a:r>
            <a:r>
              <a:rPr lang="zh-TW" altLang="en-US" sz="4400" dirty="0"/>
              <a:t>用</a:t>
            </a:r>
            <a:r>
              <a:rPr lang="zh-TW" altLang="en-US" sz="4400" dirty="0" smtClean="0"/>
              <a:t>此平台產生</a:t>
            </a:r>
            <a:r>
              <a:rPr lang="en-US" altLang="zh-TW" sz="4400" dirty="0" smtClean="0"/>
              <a:t>Database</a:t>
            </a:r>
            <a:endParaRPr lang="zh-TW" altLang="en-US" sz="4400"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56264" y="1337969"/>
            <a:ext cx="8155692" cy="4935221"/>
          </a:xfrm>
          <a:prstGeom prst="rect">
            <a:avLst/>
          </a:prstGeom>
        </p:spPr>
      </p:pic>
      <p:sp>
        <p:nvSpPr>
          <p:cNvPr id="2" name="Rectangle 1"/>
          <p:cNvSpPr/>
          <p:nvPr/>
        </p:nvSpPr>
        <p:spPr>
          <a:xfrm>
            <a:off x="377536" y="2485934"/>
            <a:ext cx="2386446" cy="3046988"/>
          </a:xfrm>
          <a:prstGeom prst="rect">
            <a:avLst/>
          </a:prstGeom>
        </p:spPr>
        <p:txBody>
          <a:bodyPr wrap="square">
            <a:spAutoFit/>
          </a:bodyPr>
          <a:lstStyle/>
          <a:p>
            <a:r>
              <a:rPr lang="en-US" altLang="zh-TW" sz="2400" dirty="0" smtClean="0">
                <a:solidFill>
                  <a:srgbClr val="002060"/>
                </a:solidFill>
              </a:rPr>
              <a:t>-</a:t>
            </a:r>
            <a:r>
              <a:rPr lang="zh-TW" altLang="en-US" sz="2400" dirty="0" smtClean="0">
                <a:solidFill>
                  <a:srgbClr val="002060"/>
                </a:solidFill>
              </a:rPr>
              <a:t>開發人</a:t>
            </a:r>
            <a:r>
              <a:rPr lang="zh-TW" altLang="en-US" sz="2400" dirty="0">
                <a:solidFill>
                  <a:srgbClr val="002060"/>
                </a:solidFill>
              </a:rPr>
              <a:t>員</a:t>
            </a:r>
            <a:r>
              <a:rPr lang="zh-TW" altLang="en-US" sz="2400" dirty="0" smtClean="0">
                <a:solidFill>
                  <a:srgbClr val="002060"/>
                </a:solidFill>
              </a:rPr>
              <a:t>不需再</a:t>
            </a:r>
            <a:r>
              <a:rPr lang="zh-TW" altLang="en-US" sz="2400" dirty="0">
                <a:solidFill>
                  <a:srgbClr val="002060"/>
                </a:solidFill>
              </a:rPr>
              <a:t>顧慮底層環</a:t>
            </a:r>
            <a:r>
              <a:rPr lang="zh-TW" altLang="en-US" sz="2400" dirty="0" smtClean="0">
                <a:solidFill>
                  <a:srgbClr val="002060"/>
                </a:solidFill>
              </a:rPr>
              <a:t>境</a:t>
            </a:r>
            <a:endParaRPr lang="en-US" altLang="zh-TW" sz="2400" dirty="0" smtClean="0">
              <a:solidFill>
                <a:srgbClr val="002060"/>
              </a:solidFill>
            </a:endParaRPr>
          </a:p>
          <a:p>
            <a:endParaRPr lang="en-US" altLang="zh-TW" sz="2400" dirty="0">
              <a:solidFill>
                <a:srgbClr val="002060"/>
              </a:solidFill>
            </a:endParaRPr>
          </a:p>
          <a:p>
            <a:r>
              <a:rPr lang="en-US" altLang="zh-TW" sz="2400" dirty="0" smtClean="0">
                <a:solidFill>
                  <a:srgbClr val="002060"/>
                </a:solidFill>
              </a:rPr>
              <a:t>-</a:t>
            </a:r>
            <a:r>
              <a:rPr lang="zh-TW" altLang="en-US" sz="2400" dirty="0" smtClean="0">
                <a:solidFill>
                  <a:srgbClr val="002060"/>
                </a:solidFill>
              </a:rPr>
              <a:t>直</a:t>
            </a:r>
            <a:r>
              <a:rPr lang="zh-TW" altLang="en-US" sz="2400" dirty="0">
                <a:solidFill>
                  <a:srgbClr val="002060"/>
                </a:solidFill>
              </a:rPr>
              <a:t>接可建立資料庫與網</a:t>
            </a:r>
            <a:r>
              <a:rPr lang="zh-TW" altLang="en-US" sz="2400" dirty="0" smtClean="0">
                <a:solidFill>
                  <a:srgbClr val="002060"/>
                </a:solidFill>
              </a:rPr>
              <a:t>站</a:t>
            </a:r>
            <a:endParaRPr lang="en-US" altLang="zh-TW" sz="2400" dirty="0" smtClean="0">
              <a:solidFill>
                <a:srgbClr val="002060"/>
              </a:solidFill>
            </a:endParaRPr>
          </a:p>
          <a:p>
            <a:endParaRPr lang="en-US" altLang="zh-TW" sz="2400" dirty="0">
              <a:solidFill>
                <a:srgbClr val="002060"/>
              </a:solidFill>
            </a:endParaRPr>
          </a:p>
          <a:p>
            <a:r>
              <a:rPr lang="en-US" altLang="zh-TW" sz="2400" dirty="0" smtClean="0">
                <a:solidFill>
                  <a:srgbClr val="002060"/>
                </a:solidFill>
              </a:rPr>
              <a:t>-IT</a:t>
            </a:r>
            <a:r>
              <a:rPr lang="zh-TW" altLang="en-US" sz="2400" dirty="0">
                <a:solidFill>
                  <a:srgbClr val="002060"/>
                </a:solidFill>
              </a:rPr>
              <a:t>集中控管所有資源</a:t>
            </a:r>
          </a:p>
        </p:txBody>
      </p:sp>
    </p:spTree>
    <p:extLst>
      <p:ext uri="{BB962C8B-B14F-4D97-AF65-F5344CB8AC3E}">
        <p14:creationId xmlns:p14="http://schemas.microsoft.com/office/powerpoint/2010/main" val="18979945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51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pic>
        <p:nvPicPr>
          <p:cNvPr id="69" name="Picture 6" descr="\\MAGNUM\Projects\Microsoft\Cloud Power FY12\Design\ICONS_PNG\Cloud.png"/>
          <p:cNvPicPr>
            <a:picLocks noChangeAspect="1" noChangeArrowheads="1"/>
          </p:cNvPicPr>
          <p:nvPr/>
        </p:nvPicPr>
        <p:blipFill>
          <a:blip r:embed="rId7" cstate="print">
            <a:lum/>
          </a:blip>
          <a:srcRect/>
          <a:stretch>
            <a:fillRect/>
          </a:stretch>
        </p:blipFill>
        <p:spPr bwMode="auto">
          <a:xfrm>
            <a:off x="639152" y="3490354"/>
            <a:ext cx="4880090" cy="3164452"/>
          </a:xfrm>
          <a:prstGeom prst="rect">
            <a:avLst/>
          </a:prstGeom>
          <a:noFill/>
        </p:spPr>
      </p:pic>
      <p:sp>
        <p:nvSpPr>
          <p:cNvPr id="7" name="TextBox 6"/>
          <p:cNvSpPr txBox="1"/>
          <p:nvPr/>
        </p:nvSpPr>
        <p:spPr>
          <a:xfrm>
            <a:off x="2699948" y="5995456"/>
            <a:ext cx="1268113" cy="622056"/>
          </a:xfrm>
          <a:prstGeom prst="rect">
            <a:avLst/>
          </a:prstGeom>
          <a:noFill/>
        </p:spPr>
        <p:txBody>
          <a:bodyPr wrap="square" lIns="179285" tIns="143428" rIns="179285" bIns="143428" rtlCol="0">
            <a:spAutoFit/>
          </a:bodyPr>
          <a:lstStyle/>
          <a:p>
            <a:pPr>
              <a:lnSpc>
                <a:spcPct val="90000"/>
              </a:lnSpc>
              <a:spcAft>
                <a:spcPts val="588"/>
              </a:spcAft>
            </a:pPr>
            <a:r>
              <a:rPr lang="en-US" altLang="zh-TW" sz="2400" dirty="0"/>
              <a:t>Azure</a:t>
            </a:r>
            <a:endParaRPr lang="zh-TW" altLang="en-US" sz="2400" dirty="0" err="1"/>
          </a:p>
        </p:txBody>
      </p:sp>
      <p:sp>
        <p:nvSpPr>
          <p:cNvPr id="72" name="TextBox 71"/>
          <p:cNvSpPr txBox="1"/>
          <p:nvPr/>
        </p:nvSpPr>
        <p:spPr>
          <a:xfrm>
            <a:off x="8747394" y="4078133"/>
            <a:ext cx="1268113" cy="479745"/>
          </a:xfrm>
          <a:prstGeom prst="rect">
            <a:avLst/>
          </a:prstGeom>
          <a:noFill/>
        </p:spPr>
        <p:txBody>
          <a:bodyPr wrap="square" lIns="179285" tIns="143428" rIns="179285" bIns="143428" rtlCol="0">
            <a:spAutoFit/>
          </a:bodyPr>
          <a:lstStyle/>
          <a:p>
            <a:pPr>
              <a:lnSpc>
                <a:spcPct val="90000"/>
              </a:lnSpc>
              <a:spcAft>
                <a:spcPts val="588"/>
              </a:spcAft>
            </a:pPr>
            <a:r>
              <a:rPr lang="en-US" altLang="zh-TW" sz="1372" dirty="0">
                <a:solidFill>
                  <a:prstClr val="white"/>
                </a:solidFill>
              </a:rPr>
              <a:t>On Premise</a:t>
            </a:r>
            <a:endParaRPr lang="zh-TW" altLang="en-US" sz="1372" dirty="0" err="1">
              <a:solidFill>
                <a:prstClr val="white"/>
              </a:solidFill>
            </a:endParaRPr>
          </a:p>
        </p:txBody>
      </p:sp>
      <p:pic>
        <p:nvPicPr>
          <p:cNvPr id="73" name="Picture 2" descr="\\MAGNUM\Projects\Microsoft\Cloud Power FY12\Design\ICONS_PNG\Tower.png"/>
          <p:cNvPicPr>
            <a:picLocks noChangeAspect="1" noChangeArrowheads="1"/>
          </p:cNvPicPr>
          <p:nvPr/>
        </p:nvPicPr>
        <p:blipFill>
          <a:blip r:embed="rId8" cstate="print"/>
          <a:stretch>
            <a:fillRect/>
          </a:stretch>
        </p:blipFill>
        <p:spPr bwMode="auto">
          <a:xfrm>
            <a:off x="6464445" y="3118165"/>
            <a:ext cx="4614418" cy="3536641"/>
          </a:xfrm>
          <a:prstGeom prst="rect">
            <a:avLst/>
          </a:prstGeom>
          <a:noFill/>
        </p:spPr>
      </p:pic>
      <p:sp>
        <p:nvSpPr>
          <p:cNvPr id="74" name="TextBox 73"/>
          <p:cNvSpPr txBox="1"/>
          <p:nvPr/>
        </p:nvSpPr>
        <p:spPr>
          <a:xfrm>
            <a:off x="8003073" y="6023495"/>
            <a:ext cx="2471438" cy="622056"/>
          </a:xfrm>
          <a:prstGeom prst="rect">
            <a:avLst/>
          </a:prstGeom>
          <a:noFill/>
        </p:spPr>
        <p:txBody>
          <a:bodyPr wrap="square" lIns="179285" tIns="143428" rIns="179285" bIns="143428" rtlCol="0">
            <a:spAutoFit/>
          </a:bodyPr>
          <a:lstStyle/>
          <a:p>
            <a:pPr>
              <a:lnSpc>
                <a:spcPct val="90000"/>
              </a:lnSpc>
              <a:spcAft>
                <a:spcPts val="588"/>
              </a:spcAft>
            </a:pPr>
            <a:r>
              <a:rPr lang="en-US" altLang="zh-TW" sz="2400" dirty="0"/>
              <a:t>On Premise</a:t>
            </a:r>
            <a:endParaRPr lang="zh-TW" altLang="en-US" sz="2400" dirty="0" err="1"/>
          </a:p>
        </p:txBody>
      </p:sp>
      <p:pic>
        <p:nvPicPr>
          <p:cNvPr id="76" name="Picture 7" descr="\\MAGNUM\Projects\Microsoft\Cloud Power FY12\Design\ICONS_PNG\Instant_online_access.png"/>
          <p:cNvPicPr>
            <a:picLocks noChangeAspect="1" noChangeArrowheads="1"/>
          </p:cNvPicPr>
          <p:nvPr/>
        </p:nvPicPr>
        <p:blipFill>
          <a:blip r:embed="rId9" cstate="print">
            <a:lum/>
          </a:blip>
          <a:stretch>
            <a:fillRect/>
          </a:stretch>
        </p:blipFill>
        <p:spPr bwMode="auto">
          <a:xfrm>
            <a:off x="4982546" y="3792308"/>
            <a:ext cx="1792850" cy="1792850"/>
          </a:xfrm>
          <a:prstGeom prst="rect">
            <a:avLst/>
          </a:prstGeom>
          <a:noFill/>
        </p:spPr>
      </p:pic>
      <p:pic>
        <p:nvPicPr>
          <p:cNvPr id="78" name="Picture 5" descr="\\MAGNUM\Projects\Microsoft\Cloud Power FY12\Design\ICONS_PNG\Layer-79.png"/>
          <p:cNvPicPr>
            <a:picLocks noChangeAspect="1" noChangeArrowheads="1"/>
          </p:cNvPicPr>
          <p:nvPr/>
        </p:nvPicPr>
        <p:blipFill>
          <a:blip r:embed="rId10" cstate="print">
            <a:lum bright="100000"/>
          </a:blip>
          <a:srcRect/>
          <a:stretch>
            <a:fillRect/>
          </a:stretch>
        </p:blipFill>
        <p:spPr bwMode="auto">
          <a:xfrm>
            <a:off x="2192926" y="4510623"/>
            <a:ext cx="1828265" cy="980388"/>
          </a:xfrm>
          <a:prstGeom prst="rect">
            <a:avLst/>
          </a:prstGeom>
          <a:noFill/>
        </p:spPr>
      </p:pic>
      <p:sp>
        <p:nvSpPr>
          <p:cNvPr id="8" name="TextBox 7"/>
          <p:cNvSpPr txBox="1"/>
          <p:nvPr/>
        </p:nvSpPr>
        <p:spPr>
          <a:xfrm>
            <a:off x="2455397" y="5353291"/>
            <a:ext cx="1533687" cy="479745"/>
          </a:xfrm>
          <a:prstGeom prst="rect">
            <a:avLst/>
          </a:prstGeom>
          <a:noFill/>
        </p:spPr>
        <p:txBody>
          <a:bodyPr wrap="square" lIns="179285" tIns="143428" rIns="179285" bIns="143428" rtlCol="0">
            <a:spAutoFit/>
          </a:bodyPr>
          <a:lstStyle/>
          <a:p>
            <a:pPr>
              <a:lnSpc>
                <a:spcPct val="90000"/>
              </a:lnSpc>
              <a:spcAft>
                <a:spcPts val="588"/>
              </a:spcAft>
            </a:pPr>
            <a:r>
              <a:rPr lang="en-US" altLang="zh-TW" sz="1372" dirty="0">
                <a:solidFill>
                  <a:prstClr val="white"/>
                </a:solidFill>
              </a:rPr>
              <a:t>Web Front-End</a:t>
            </a:r>
            <a:endParaRPr lang="zh-TW" altLang="en-US" sz="1372" dirty="0" err="1">
              <a:solidFill>
                <a:prstClr val="white"/>
              </a:solidFill>
            </a:endParaRPr>
          </a:p>
        </p:txBody>
      </p:sp>
      <p:sp>
        <p:nvSpPr>
          <p:cNvPr id="81" name="Freeform 83"/>
          <p:cNvSpPr>
            <a:spLocks noEditPoints="1"/>
          </p:cNvSpPr>
          <p:nvPr/>
        </p:nvSpPr>
        <p:spPr bwMode="black">
          <a:xfrm>
            <a:off x="8525074" y="4696961"/>
            <a:ext cx="493159" cy="52059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endParaRPr lang="en-US" sz="1568">
              <a:solidFill>
                <a:prstClr val="black"/>
              </a:solidFill>
            </a:endParaRPr>
          </a:p>
        </p:txBody>
      </p:sp>
      <p:sp>
        <p:nvSpPr>
          <p:cNvPr id="82" name="TextBox 81"/>
          <p:cNvSpPr txBox="1"/>
          <p:nvPr/>
        </p:nvSpPr>
        <p:spPr>
          <a:xfrm>
            <a:off x="8276811" y="5161424"/>
            <a:ext cx="1104103" cy="479745"/>
          </a:xfrm>
          <a:prstGeom prst="rect">
            <a:avLst/>
          </a:prstGeom>
          <a:noFill/>
        </p:spPr>
        <p:txBody>
          <a:bodyPr wrap="square" lIns="179285" tIns="143428" rIns="179285" bIns="143428" rtlCol="0">
            <a:spAutoFit/>
          </a:bodyPr>
          <a:lstStyle/>
          <a:p>
            <a:pPr>
              <a:lnSpc>
                <a:spcPct val="90000"/>
              </a:lnSpc>
              <a:spcAft>
                <a:spcPts val="588"/>
              </a:spcAft>
            </a:pPr>
            <a:r>
              <a:rPr lang="en-US" altLang="zh-TW" sz="1372" dirty="0">
                <a:solidFill>
                  <a:prstClr val="white"/>
                </a:solidFill>
              </a:rPr>
              <a:t>Database</a:t>
            </a:r>
            <a:endParaRPr lang="zh-TW" altLang="en-US" sz="1372" dirty="0" err="1">
              <a:solidFill>
                <a:prstClr val="white"/>
              </a:solidFill>
            </a:endParaRPr>
          </a:p>
        </p:txBody>
      </p:sp>
      <p:pic>
        <p:nvPicPr>
          <p:cNvPr id="83" name="Picture 6" descr="\\MAGNUM\Projects\Microsoft\Cloud Power FY12\Design\Icons\PNGs\Firewall.png"/>
          <p:cNvPicPr>
            <a:picLocks noChangeAspect="1" noChangeArrowheads="1"/>
          </p:cNvPicPr>
          <p:nvPr/>
        </p:nvPicPr>
        <p:blipFill>
          <a:blip r:embed="rId11" cstate="print">
            <a:duotone>
              <a:prstClr val="black"/>
              <a:schemeClr val="tx2">
                <a:tint val="45000"/>
                <a:satMod val="400000"/>
              </a:schemeClr>
            </a:duotone>
          </a:blip>
          <a:srcRect/>
          <a:stretch>
            <a:fillRect/>
          </a:stretch>
        </p:blipFill>
        <p:spPr bwMode="auto">
          <a:xfrm>
            <a:off x="6671863" y="4031488"/>
            <a:ext cx="901582" cy="901582"/>
          </a:xfrm>
          <a:prstGeom prst="rect">
            <a:avLst/>
          </a:prstGeom>
          <a:noFill/>
        </p:spPr>
      </p:pic>
      <p:sp>
        <p:nvSpPr>
          <p:cNvPr id="9" name="TextBox 8"/>
          <p:cNvSpPr txBox="1"/>
          <p:nvPr/>
        </p:nvSpPr>
        <p:spPr>
          <a:xfrm>
            <a:off x="7221351" y="4494511"/>
            <a:ext cx="1154158" cy="479745"/>
          </a:xfrm>
          <a:prstGeom prst="rect">
            <a:avLst/>
          </a:prstGeom>
          <a:noFill/>
        </p:spPr>
        <p:txBody>
          <a:bodyPr wrap="square" lIns="179285" tIns="143428" rIns="179285" bIns="143428" rtlCol="0">
            <a:spAutoFit/>
          </a:bodyPr>
          <a:lstStyle/>
          <a:p>
            <a:pPr>
              <a:lnSpc>
                <a:spcPct val="90000"/>
              </a:lnSpc>
              <a:spcAft>
                <a:spcPts val="588"/>
              </a:spcAft>
            </a:pPr>
            <a:r>
              <a:rPr lang="en-US" altLang="zh-TW" sz="1372" dirty="0">
                <a:solidFill>
                  <a:prstClr val="white"/>
                </a:solidFill>
              </a:rPr>
              <a:t>A10 GLBS</a:t>
            </a:r>
            <a:endParaRPr lang="zh-TW" altLang="en-US" sz="1372" dirty="0" err="1">
              <a:solidFill>
                <a:prstClr val="white"/>
              </a:solidFill>
            </a:endParaRPr>
          </a:p>
        </p:txBody>
      </p:sp>
      <p:pic>
        <p:nvPicPr>
          <p:cNvPr id="85" name="Picture 3" descr="\\MAGNUM\Projects\Microsoft\Cloud Power FY12\Design\ICONS_PNG\Confidentiality.png"/>
          <p:cNvPicPr>
            <a:picLocks noChangeAspect="1" noChangeArrowheads="1"/>
          </p:cNvPicPr>
          <p:nvPr/>
        </p:nvPicPr>
        <p:blipFill>
          <a:blip r:embed="rId12" cstate="print">
            <a:lum/>
          </a:blip>
          <a:srcRect/>
          <a:stretch>
            <a:fillRect/>
          </a:stretch>
        </p:blipFill>
        <p:spPr bwMode="auto">
          <a:xfrm>
            <a:off x="5522173" y="5470002"/>
            <a:ext cx="942271" cy="942271"/>
          </a:xfrm>
          <a:prstGeom prst="rect">
            <a:avLst/>
          </a:prstGeom>
          <a:noFill/>
        </p:spPr>
      </p:pic>
      <p:sp>
        <p:nvSpPr>
          <p:cNvPr id="10" name="TextBox 9"/>
          <p:cNvSpPr txBox="1"/>
          <p:nvPr/>
        </p:nvSpPr>
        <p:spPr>
          <a:xfrm>
            <a:off x="5669463" y="6204195"/>
            <a:ext cx="760099" cy="479745"/>
          </a:xfrm>
          <a:prstGeom prst="rect">
            <a:avLst/>
          </a:prstGeom>
          <a:noFill/>
        </p:spPr>
        <p:txBody>
          <a:bodyPr wrap="square" lIns="179285" tIns="143428" rIns="179285" bIns="143428" rtlCol="0">
            <a:spAutoFit/>
          </a:bodyPr>
          <a:lstStyle/>
          <a:p>
            <a:pPr>
              <a:lnSpc>
                <a:spcPct val="90000"/>
              </a:lnSpc>
              <a:spcAft>
                <a:spcPts val="588"/>
              </a:spcAft>
            </a:pPr>
            <a:r>
              <a:rPr lang="en-US" altLang="zh-TW" sz="1372" dirty="0">
                <a:gradFill>
                  <a:gsLst>
                    <a:gs pos="2917">
                      <a:prstClr val="black"/>
                    </a:gs>
                    <a:gs pos="30000">
                      <a:prstClr val="black"/>
                    </a:gs>
                  </a:gsLst>
                  <a:lin ang="5400000" scaled="0"/>
                </a:gradFill>
              </a:rPr>
              <a:t>VPN</a:t>
            </a:r>
            <a:endParaRPr lang="zh-TW" altLang="en-US" sz="1372" dirty="0" err="1">
              <a:gradFill>
                <a:gsLst>
                  <a:gs pos="2917">
                    <a:prstClr val="black"/>
                  </a:gs>
                  <a:gs pos="30000">
                    <a:prstClr val="black"/>
                  </a:gs>
                </a:gsLst>
                <a:lin ang="5400000" scaled="0"/>
              </a:gradFill>
            </a:endParaRPr>
          </a:p>
        </p:txBody>
      </p:sp>
      <p:cxnSp>
        <p:nvCxnSpPr>
          <p:cNvPr id="16" name="Elbow Connector 15"/>
          <p:cNvCxnSpPr>
            <a:stCxn id="8" idx="2"/>
            <a:endCxn id="85" idx="1"/>
          </p:cNvCxnSpPr>
          <p:nvPr/>
        </p:nvCxnSpPr>
        <p:spPr>
          <a:xfrm rot="16200000" flipH="1">
            <a:off x="4318156" y="4737121"/>
            <a:ext cx="108102" cy="2299932"/>
          </a:xfrm>
          <a:prstGeom prst="bentConnector2">
            <a:avLst/>
          </a:prstGeom>
          <a:ln w="28575">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85" idx="3"/>
            <a:endCxn id="82" idx="2"/>
          </p:cNvCxnSpPr>
          <p:nvPr/>
        </p:nvCxnSpPr>
        <p:spPr>
          <a:xfrm flipV="1">
            <a:off x="6464445" y="5641169"/>
            <a:ext cx="2364418" cy="299969"/>
          </a:xfrm>
          <a:prstGeom prst="bentConnector2">
            <a:avLst/>
          </a:prstGeom>
          <a:ln w="28575">
            <a:solidFill>
              <a:srgbClr val="FFC00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8" name="Picture 2" descr="\\MAGNUM\Projects\Microsoft\Cloud Power FY12\Design\ICONS_PNG\Server.png"/>
          <p:cNvPicPr>
            <a:picLocks noChangeAspect="1" noChangeArrowheads="1"/>
          </p:cNvPicPr>
          <p:nvPr/>
        </p:nvPicPr>
        <p:blipFill>
          <a:blip r:embed="rId13" cstate="print">
            <a:lum bright="100000"/>
          </a:blip>
          <a:srcRect/>
          <a:stretch>
            <a:fillRect/>
          </a:stretch>
        </p:blipFill>
        <p:spPr bwMode="auto">
          <a:xfrm>
            <a:off x="7428969" y="4817962"/>
            <a:ext cx="588081" cy="588081"/>
          </a:xfrm>
          <a:prstGeom prst="rect">
            <a:avLst/>
          </a:prstGeom>
          <a:noFill/>
        </p:spPr>
      </p:pic>
      <p:sp>
        <p:nvSpPr>
          <p:cNvPr id="99" name="TextBox 98"/>
          <p:cNvSpPr txBox="1"/>
          <p:nvPr/>
        </p:nvSpPr>
        <p:spPr>
          <a:xfrm>
            <a:off x="6976999" y="5172598"/>
            <a:ext cx="1533687" cy="479745"/>
          </a:xfrm>
          <a:prstGeom prst="rect">
            <a:avLst/>
          </a:prstGeom>
          <a:noFill/>
        </p:spPr>
        <p:txBody>
          <a:bodyPr wrap="square" lIns="179285" tIns="143428" rIns="179285" bIns="143428" rtlCol="0">
            <a:spAutoFit/>
          </a:bodyPr>
          <a:lstStyle/>
          <a:p>
            <a:pPr>
              <a:lnSpc>
                <a:spcPct val="90000"/>
              </a:lnSpc>
              <a:spcAft>
                <a:spcPts val="588"/>
              </a:spcAft>
            </a:pPr>
            <a:r>
              <a:rPr lang="en-US" altLang="zh-TW" sz="1372" dirty="0">
                <a:solidFill>
                  <a:prstClr val="white"/>
                </a:solidFill>
              </a:rPr>
              <a:t>Web Front-End</a:t>
            </a:r>
            <a:endParaRPr lang="zh-TW" altLang="en-US" sz="1372" dirty="0" err="1">
              <a:solidFill>
                <a:prstClr val="white"/>
              </a:solidFill>
            </a:endParaRPr>
          </a:p>
        </p:txBody>
      </p:sp>
      <p:cxnSp>
        <p:nvCxnSpPr>
          <p:cNvPr id="24" name="Elbow Connector 23"/>
          <p:cNvCxnSpPr>
            <a:endCxn id="98" idx="1"/>
          </p:cNvCxnSpPr>
          <p:nvPr/>
        </p:nvCxnSpPr>
        <p:spPr>
          <a:xfrm rot="16200000" flipH="1">
            <a:off x="7087001" y="4770035"/>
            <a:ext cx="377620" cy="306316"/>
          </a:xfrm>
          <a:prstGeom prst="bentConnector2">
            <a:avLst/>
          </a:prstGeom>
          <a:ln w="38100">
            <a:solidFill>
              <a:srgbClr val="FFFF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98" idx="3"/>
          </p:cNvCxnSpPr>
          <p:nvPr/>
        </p:nvCxnSpPr>
        <p:spPr>
          <a:xfrm flipV="1">
            <a:off x="8017050" y="5112002"/>
            <a:ext cx="561275" cy="1"/>
          </a:xfrm>
          <a:prstGeom prst="bentConnector3">
            <a:avLst/>
          </a:prstGeom>
          <a:ln w="38100">
            <a:solidFill>
              <a:srgbClr val="FFFA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385379" y="4489802"/>
            <a:ext cx="442069" cy="0"/>
          </a:xfrm>
          <a:prstGeom prst="line">
            <a:avLst/>
          </a:prstGeom>
          <a:ln w="381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1" name="Picture 2" descr="\\MAGNUM\Projects\Microsoft\Cloud Power FY12\Design\ICONS_PNG\Devices.png"/>
          <p:cNvPicPr>
            <a:picLocks noChangeAspect="1" noChangeArrowheads="1"/>
          </p:cNvPicPr>
          <p:nvPr/>
        </p:nvPicPr>
        <p:blipFill>
          <a:blip r:embed="rId14" cstate="print">
            <a:duotone>
              <a:prstClr val="black"/>
              <a:schemeClr val="tx2">
                <a:tint val="45000"/>
                <a:satMod val="400000"/>
              </a:schemeClr>
            </a:duotone>
          </a:blip>
          <a:srcRect/>
          <a:stretch>
            <a:fillRect/>
          </a:stretch>
        </p:blipFill>
        <p:spPr bwMode="auto">
          <a:xfrm>
            <a:off x="4890934" y="2041128"/>
            <a:ext cx="1792850" cy="1792850"/>
          </a:xfrm>
          <a:prstGeom prst="rect">
            <a:avLst/>
          </a:prstGeom>
          <a:noFill/>
        </p:spPr>
      </p:pic>
      <p:cxnSp>
        <p:nvCxnSpPr>
          <p:cNvPr id="30" name="Elbow Connector 29"/>
          <p:cNvCxnSpPr/>
          <p:nvPr/>
        </p:nvCxnSpPr>
        <p:spPr>
          <a:xfrm rot="5400000">
            <a:off x="5582879" y="3814388"/>
            <a:ext cx="429208" cy="98279"/>
          </a:xfrm>
          <a:prstGeom prst="bentConnector3">
            <a:avLst/>
          </a:prstGeom>
          <a:ln w="38100">
            <a:solidFill>
              <a:srgbClr val="00BCF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768098" y="3522212"/>
            <a:ext cx="1600112" cy="615522"/>
          </a:xfrm>
          <a:prstGeom prst="rect">
            <a:avLst/>
          </a:prstGeom>
          <a:noFill/>
        </p:spPr>
        <p:txBody>
          <a:bodyPr wrap="square" lIns="179285" tIns="143428" rIns="179285" bIns="143428" rtlCol="0">
            <a:spAutoFit/>
          </a:bodyPr>
          <a:lstStyle/>
          <a:p>
            <a:pPr>
              <a:lnSpc>
                <a:spcPct val="90000"/>
              </a:lnSpc>
              <a:spcAft>
                <a:spcPts val="588"/>
              </a:spcAft>
            </a:pPr>
            <a:r>
              <a:rPr lang="en-US" altLang="zh-TW" sz="2353" dirty="0">
                <a:gradFill>
                  <a:gsLst>
                    <a:gs pos="2917">
                      <a:prstClr val="black"/>
                    </a:gs>
                    <a:gs pos="30000">
                      <a:prstClr val="black"/>
                    </a:gs>
                  </a:gsLst>
                  <a:lin ang="5400000" scaled="0"/>
                </a:gradFill>
              </a:rPr>
              <a:t>Devices</a:t>
            </a:r>
            <a:endParaRPr lang="zh-TW" altLang="en-US" sz="2353" dirty="0" err="1">
              <a:gradFill>
                <a:gsLst>
                  <a:gs pos="2917">
                    <a:prstClr val="black"/>
                  </a:gs>
                  <a:gs pos="30000">
                    <a:prstClr val="black"/>
                  </a:gs>
                </a:gsLst>
                <a:lin ang="5400000" scaled="0"/>
              </a:gradFill>
            </a:endParaRPr>
          </a:p>
        </p:txBody>
      </p:sp>
      <p:sp>
        <p:nvSpPr>
          <p:cNvPr id="95" name="Title 6"/>
          <p:cNvSpPr txBox="1">
            <a:spLocks/>
          </p:cNvSpPr>
          <p:nvPr/>
        </p:nvSpPr>
        <p:spPr>
          <a:xfrm>
            <a:off x="691954" y="398294"/>
            <a:ext cx="11500046" cy="882515"/>
          </a:xfrm>
          <a:prstGeom prst="rect">
            <a:avLst/>
          </a:prstGeom>
        </p:spPr>
        <p:txBody>
          <a:bodyPr vert="horz" lIns="0" tIns="91440" rIns="146304" bIns="91440" rtlCol="0" anchor="ctr">
            <a:noAutofit/>
          </a:bodyPr>
          <a:lstStyle>
            <a:lvl1pPr algn="l" defTabSz="914400" rtl="0" eaLnBrk="1" latinLnBrk="0" hangingPunct="1">
              <a:lnSpc>
                <a:spcPts val="4803"/>
              </a:lnSpc>
              <a:spcBef>
                <a:spcPct val="0"/>
              </a:spcBef>
              <a:buNone/>
              <a:defRPr sz="4313" kern="1200" baseline="0">
                <a:solidFill>
                  <a:schemeClr val="accent1"/>
                </a:solidFill>
                <a:latin typeface="+mj-lt"/>
                <a:ea typeface="+mj-ea"/>
                <a:cs typeface="+mj-cs"/>
              </a:defRPr>
            </a:lvl1pPr>
          </a:lstStyle>
          <a:p>
            <a:r>
              <a:rPr lang="zh-TW" altLang="en-US" sz="3600" b="1" dirty="0" smtClean="0">
                <a:solidFill>
                  <a:schemeClr val="tx1"/>
                </a:solidFill>
                <a:latin typeface="微軟正黑體" panose="020B0604030504040204" pitchFamily="34" charset="-120"/>
                <a:ea typeface="微軟正黑體" panose="020B0604030504040204" pitchFamily="34" charset="-120"/>
              </a:rPr>
              <a:t>案例分享</a:t>
            </a:r>
            <a:r>
              <a:rPr lang="en-US" altLang="zh-TW" sz="3600" b="1" dirty="0" smtClean="0">
                <a:solidFill>
                  <a:schemeClr val="tx1"/>
                </a:solidFill>
                <a:latin typeface="微軟正黑體" panose="020B0604030504040204" pitchFamily="34" charset="-120"/>
                <a:ea typeface="微軟正黑體" panose="020B0604030504040204" pitchFamily="34" charset="-120"/>
              </a:rPr>
              <a:t>:</a:t>
            </a:r>
            <a:r>
              <a:rPr lang="zh-TW" altLang="en-US" sz="3600" b="1" dirty="0" smtClean="0">
                <a:solidFill>
                  <a:schemeClr val="tx1"/>
                </a:solidFill>
                <a:latin typeface="微軟正黑體" panose="020B0604030504040204" pitchFamily="34" charset="-120"/>
                <a:ea typeface="微軟正黑體" panose="020B0604030504040204" pitchFamily="34" charset="-120"/>
              </a:rPr>
              <a:t> </a:t>
            </a:r>
            <a:endParaRPr lang="en-US" altLang="zh-TW" sz="3600" b="1" dirty="0" smtClean="0">
              <a:solidFill>
                <a:schemeClr val="tx1"/>
              </a:solidFill>
              <a:latin typeface="微軟正黑體" panose="020B0604030504040204" pitchFamily="34" charset="-120"/>
              <a:ea typeface="微軟正黑體" panose="020B0604030504040204" pitchFamily="34" charset="-120"/>
            </a:endParaRPr>
          </a:p>
          <a:p>
            <a:r>
              <a:rPr lang="zh-TW" altLang="en-US" sz="4000" b="1" dirty="0" smtClean="0">
                <a:solidFill>
                  <a:schemeClr val="tx1"/>
                </a:solidFill>
                <a:latin typeface="微軟正黑體" panose="020B0604030504040204" pitchFamily="34" charset="-120"/>
                <a:ea typeface="微軟正黑體" panose="020B0604030504040204" pitchFamily="34" charset="-120"/>
              </a:rPr>
              <a:t>開</a:t>
            </a:r>
            <a:r>
              <a:rPr lang="zh-TW" altLang="en-US" sz="4000" b="1" dirty="0">
                <a:solidFill>
                  <a:schemeClr val="tx1"/>
                </a:solidFill>
                <a:latin typeface="微軟正黑體" panose="020B0604030504040204" pitchFamily="34" charset="-120"/>
                <a:ea typeface="微軟正黑體" panose="020B0604030504040204" pitchFamily="34" charset="-120"/>
              </a:rPr>
              <a:t>南大學導入</a:t>
            </a:r>
            <a:r>
              <a:rPr lang="zh-TW" altLang="en-US" sz="4000" b="1" dirty="0">
                <a:solidFill>
                  <a:schemeClr val="tx1"/>
                </a:solidFill>
                <a:latin typeface="+mn-lt"/>
                <a:ea typeface="微軟正黑體" panose="020B0604030504040204" pitchFamily="34" charset="-120"/>
              </a:rPr>
              <a:t> </a:t>
            </a:r>
            <a:r>
              <a:rPr lang="en-US" altLang="zh-TW" sz="4000" b="1" dirty="0">
                <a:solidFill>
                  <a:schemeClr val="tx1"/>
                </a:solidFill>
                <a:latin typeface="+mn-lt"/>
                <a:ea typeface="微軟正黑體" panose="020B0604030504040204" pitchFamily="34" charset="-120"/>
              </a:rPr>
              <a:t>Azure </a:t>
            </a:r>
            <a:r>
              <a:rPr lang="zh-TW" altLang="en-US" sz="4000" b="1" dirty="0">
                <a:solidFill>
                  <a:schemeClr val="tx1"/>
                </a:solidFill>
                <a:latin typeface="微軟正黑體" panose="020B0604030504040204" pitchFamily="34" charset="-120"/>
                <a:ea typeface="微軟正黑體" panose="020B0604030504040204" pitchFamily="34" charset="-120"/>
              </a:rPr>
              <a:t>打造零抱怨網路選課系統 </a:t>
            </a:r>
            <a:endParaRPr lang="en-US" sz="4000" b="1" dirty="0">
              <a:solidFill>
                <a:schemeClr val="tx1"/>
              </a:solidFill>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192893078"/>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689815" y="1876190"/>
            <a:ext cx="6387714" cy="2349680"/>
            <a:chOff x="1294423" y="47169"/>
            <a:chExt cx="6388620" cy="2350013"/>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291840" y="47169"/>
              <a:ext cx="4391203" cy="2350013"/>
            </a:xfrm>
            <a:prstGeom prst="rect">
              <a:avLst/>
            </a:prstGeom>
          </p:spPr>
        </p:pic>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4423" y="47169"/>
              <a:ext cx="1912074" cy="2350013"/>
            </a:xfrm>
            <a:prstGeom prst="rect">
              <a:avLst/>
            </a:prstGeom>
          </p:spPr>
        </p:pic>
      </p:grpSp>
    </p:spTree>
    <p:extLst>
      <p:ext uri="{BB962C8B-B14F-4D97-AF65-F5344CB8AC3E}">
        <p14:creationId xmlns:p14="http://schemas.microsoft.com/office/powerpoint/2010/main" val="51763347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群組 4"/>
          <p:cNvGrpSpPr/>
          <p:nvPr/>
        </p:nvGrpSpPr>
        <p:grpSpPr>
          <a:xfrm>
            <a:off x="1864819" y="4075374"/>
            <a:ext cx="4591221" cy="2364357"/>
            <a:chOff x="827584" y="5086907"/>
            <a:chExt cx="2538826" cy="1213367"/>
          </a:xfrm>
        </p:grpSpPr>
        <p:sp>
          <p:nvSpPr>
            <p:cNvPr id="6" name="Freeform 7"/>
            <p:cNvSpPr>
              <a:spLocks/>
            </p:cNvSpPr>
            <p:nvPr/>
          </p:nvSpPr>
          <p:spPr bwMode="auto">
            <a:xfrm>
              <a:off x="827584" y="5087779"/>
              <a:ext cx="1225550"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sp>
          <p:nvSpPr>
            <p:cNvPr id="7" name="Freeform 7"/>
            <p:cNvSpPr>
              <a:spLocks/>
            </p:cNvSpPr>
            <p:nvPr/>
          </p:nvSpPr>
          <p:spPr bwMode="auto">
            <a:xfrm flipH="1">
              <a:off x="2042648" y="5086907"/>
              <a:ext cx="1323762"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grpSp>
      <p:grpSp>
        <p:nvGrpSpPr>
          <p:cNvPr id="9" name="群組 8"/>
          <p:cNvGrpSpPr/>
          <p:nvPr/>
        </p:nvGrpSpPr>
        <p:grpSpPr>
          <a:xfrm>
            <a:off x="6023993" y="1330339"/>
            <a:ext cx="4447205" cy="2364357"/>
            <a:chOff x="827584" y="5086907"/>
            <a:chExt cx="2538826" cy="1213367"/>
          </a:xfrm>
        </p:grpSpPr>
        <p:sp>
          <p:nvSpPr>
            <p:cNvPr id="10" name="Freeform 7"/>
            <p:cNvSpPr>
              <a:spLocks/>
            </p:cNvSpPr>
            <p:nvPr/>
          </p:nvSpPr>
          <p:spPr bwMode="auto">
            <a:xfrm>
              <a:off x="827584" y="5087779"/>
              <a:ext cx="1225550"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sp>
          <p:nvSpPr>
            <p:cNvPr id="11" name="Freeform 7"/>
            <p:cNvSpPr>
              <a:spLocks/>
            </p:cNvSpPr>
            <p:nvPr/>
          </p:nvSpPr>
          <p:spPr bwMode="auto">
            <a:xfrm flipH="1">
              <a:off x="2042648" y="5086907"/>
              <a:ext cx="1323762"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grpSp>
      <p:pic>
        <p:nvPicPr>
          <p:cNvPr id="4"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8562" y="3133364"/>
            <a:ext cx="1828800" cy="1828800"/>
          </a:xfrm>
          <a:prstGeom prst="rect">
            <a:avLst/>
          </a:prstGeom>
        </p:spPr>
      </p:pic>
      <p:pic>
        <p:nvPicPr>
          <p:cNvPr id="12"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3913" y="1163403"/>
            <a:ext cx="1371600" cy="1371600"/>
          </a:xfrm>
          <a:prstGeom prst="rect">
            <a:avLst/>
          </a:prstGeom>
          <a:effectLst/>
        </p:spPr>
      </p:pic>
      <p:sp>
        <p:nvSpPr>
          <p:cNvPr id="13" name="標題 1"/>
          <p:cNvSpPr>
            <a:spLocks noGrp="1"/>
          </p:cNvSpPr>
          <p:nvPr>
            <p:ph type="title"/>
          </p:nvPr>
        </p:nvSpPr>
        <p:spPr>
          <a:xfrm>
            <a:off x="1905000" y="230194"/>
            <a:ext cx="8382000" cy="609398"/>
          </a:xfrm>
        </p:spPr>
        <p:txBody>
          <a:bodyPr/>
          <a:lstStyle/>
          <a:p>
            <a:r>
              <a:rPr lang="en-US" altLang="zh-TW" sz="4400" dirty="0">
                <a:effectLst/>
              </a:rPr>
              <a:t>Microsoft Cloud</a:t>
            </a:r>
            <a:endParaRPr lang="zh-TW" altLang="en-US" sz="4400" dirty="0">
              <a:effectLst/>
            </a:endParaRPr>
          </a:p>
        </p:txBody>
      </p:sp>
      <p:sp>
        <p:nvSpPr>
          <p:cNvPr id="14" name="文字方塊 13"/>
          <p:cNvSpPr txBox="1"/>
          <p:nvPr/>
        </p:nvSpPr>
        <p:spPr>
          <a:xfrm>
            <a:off x="7638652" y="3354988"/>
            <a:ext cx="1577868" cy="215444"/>
          </a:xfrm>
          <a:prstGeom prst="rect">
            <a:avLst/>
          </a:prstGeom>
          <a:noFill/>
        </p:spPr>
        <p:txBody>
          <a:bodyPr wrap="none" lIns="0" tIns="0" rIns="0" bIns="0" rtlCol="0">
            <a:spAutoFit/>
          </a:bodyPr>
          <a:lstStyle/>
          <a:p>
            <a:r>
              <a:rPr lang="en-US" altLang="zh-TW" sz="1400" dirty="0">
                <a:solidFill>
                  <a:schemeClr val="bg1"/>
                </a:solidFill>
              </a:rPr>
              <a:t>Software As A Service</a:t>
            </a:r>
            <a:endParaRPr lang="zh-TW" altLang="en-US" sz="1400" dirty="0" err="1">
              <a:solidFill>
                <a:schemeClr val="bg1"/>
              </a:solidFill>
            </a:endParaRPr>
          </a:p>
        </p:txBody>
      </p:sp>
      <p:sp>
        <p:nvSpPr>
          <p:cNvPr id="15" name="文字方塊 14"/>
          <p:cNvSpPr txBox="1"/>
          <p:nvPr/>
        </p:nvSpPr>
        <p:spPr>
          <a:xfrm>
            <a:off x="4505032" y="6143483"/>
            <a:ext cx="1554336" cy="215444"/>
          </a:xfrm>
          <a:prstGeom prst="rect">
            <a:avLst/>
          </a:prstGeom>
          <a:noFill/>
        </p:spPr>
        <p:txBody>
          <a:bodyPr wrap="none" lIns="0" tIns="0" rIns="0" bIns="0" rtlCol="0">
            <a:spAutoFit/>
          </a:bodyPr>
          <a:lstStyle/>
          <a:p>
            <a:r>
              <a:rPr lang="en-US" altLang="zh-TW" sz="1400" dirty="0">
                <a:solidFill>
                  <a:schemeClr val="bg1"/>
                </a:solidFill>
              </a:rPr>
              <a:t>Platform As A Service</a:t>
            </a:r>
            <a:endParaRPr lang="zh-TW" altLang="en-US" sz="1400" dirty="0" err="1">
              <a:solidFill>
                <a:schemeClr val="bg1"/>
              </a:solidFill>
            </a:endParaRPr>
          </a:p>
        </p:txBody>
      </p:sp>
      <p:sp>
        <p:nvSpPr>
          <p:cNvPr id="16" name="文字方塊 15"/>
          <p:cNvSpPr txBox="1"/>
          <p:nvPr/>
        </p:nvSpPr>
        <p:spPr>
          <a:xfrm>
            <a:off x="2351584" y="6143483"/>
            <a:ext cx="1929054" cy="215444"/>
          </a:xfrm>
          <a:prstGeom prst="rect">
            <a:avLst/>
          </a:prstGeom>
          <a:noFill/>
        </p:spPr>
        <p:txBody>
          <a:bodyPr wrap="none" lIns="0" tIns="0" rIns="0" bIns="0" rtlCol="0">
            <a:spAutoFit/>
          </a:bodyPr>
          <a:lstStyle/>
          <a:p>
            <a:r>
              <a:rPr lang="en-US" altLang="zh-TW" sz="1400" dirty="0">
                <a:solidFill>
                  <a:schemeClr val="bg1"/>
                </a:solidFill>
              </a:rPr>
              <a:t>Infrastructure As A Service</a:t>
            </a:r>
            <a:endParaRPr lang="zh-TW" altLang="en-US" sz="1400" dirty="0" err="1">
              <a:solidFill>
                <a:schemeClr val="bg1"/>
              </a:solidFill>
            </a:endParaRPr>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99713" y="2546771"/>
            <a:ext cx="2133600" cy="723900"/>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25412" y="5385934"/>
            <a:ext cx="2911390" cy="675030"/>
          </a:xfrm>
          <a:prstGeom prst="rect">
            <a:avLst/>
          </a:prstGeom>
        </p:spPr>
      </p:pic>
    </p:spTree>
    <p:extLst>
      <p:ext uri="{BB962C8B-B14F-4D97-AF65-F5344CB8AC3E}">
        <p14:creationId xmlns:p14="http://schemas.microsoft.com/office/powerpoint/2010/main" val="2644567286"/>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群組 3"/>
          <p:cNvGrpSpPr/>
          <p:nvPr/>
        </p:nvGrpSpPr>
        <p:grpSpPr>
          <a:xfrm>
            <a:off x="4076288" y="1535798"/>
            <a:ext cx="3818074" cy="1962276"/>
            <a:chOff x="827584" y="5087779"/>
            <a:chExt cx="2538826" cy="1214608"/>
          </a:xfrm>
        </p:grpSpPr>
        <p:sp>
          <p:nvSpPr>
            <p:cNvPr id="5" name="Freeform 7"/>
            <p:cNvSpPr>
              <a:spLocks/>
            </p:cNvSpPr>
            <p:nvPr/>
          </p:nvSpPr>
          <p:spPr bwMode="auto">
            <a:xfrm>
              <a:off x="827584" y="5087779"/>
              <a:ext cx="1225550"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sp>
          <p:nvSpPr>
            <p:cNvPr id="6" name="Freeform 7"/>
            <p:cNvSpPr>
              <a:spLocks/>
            </p:cNvSpPr>
            <p:nvPr/>
          </p:nvSpPr>
          <p:spPr bwMode="auto">
            <a:xfrm flipH="1">
              <a:off x="2042648" y="5089892"/>
              <a:ext cx="1323762"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grpSp>
      <p:grpSp>
        <p:nvGrpSpPr>
          <p:cNvPr id="7" name="群組 6"/>
          <p:cNvGrpSpPr/>
          <p:nvPr/>
        </p:nvGrpSpPr>
        <p:grpSpPr>
          <a:xfrm>
            <a:off x="1910030" y="4078323"/>
            <a:ext cx="3818074" cy="1962276"/>
            <a:chOff x="827584" y="5087779"/>
            <a:chExt cx="2538826" cy="1214608"/>
          </a:xfrm>
        </p:grpSpPr>
        <p:sp>
          <p:nvSpPr>
            <p:cNvPr id="8" name="Freeform 7"/>
            <p:cNvSpPr>
              <a:spLocks/>
            </p:cNvSpPr>
            <p:nvPr/>
          </p:nvSpPr>
          <p:spPr bwMode="auto">
            <a:xfrm>
              <a:off x="827584" y="5087779"/>
              <a:ext cx="1225550"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sp>
          <p:nvSpPr>
            <p:cNvPr id="9" name="Freeform 7"/>
            <p:cNvSpPr>
              <a:spLocks/>
            </p:cNvSpPr>
            <p:nvPr/>
          </p:nvSpPr>
          <p:spPr bwMode="auto">
            <a:xfrm flipH="1">
              <a:off x="2042648" y="5089892"/>
              <a:ext cx="1323762"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grpSp>
      <p:grpSp>
        <p:nvGrpSpPr>
          <p:cNvPr id="10" name="群組 9"/>
          <p:cNvGrpSpPr/>
          <p:nvPr/>
        </p:nvGrpSpPr>
        <p:grpSpPr>
          <a:xfrm>
            <a:off x="6612782" y="4062258"/>
            <a:ext cx="3818074" cy="1962276"/>
            <a:chOff x="827584" y="5087779"/>
            <a:chExt cx="2538826" cy="1214608"/>
          </a:xfrm>
        </p:grpSpPr>
        <p:sp>
          <p:nvSpPr>
            <p:cNvPr id="11" name="Freeform 7"/>
            <p:cNvSpPr>
              <a:spLocks/>
            </p:cNvSpPr>
            <p:nvPr/>
          </p:nvSpPr>
          <p:spPr bwMode="auto">
            <a:xfrm>
              <a:off x="827584" y="5087779"/>
              <a:ext cx="1225550"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sp>
          <p:nvSpPr>
            <p:cNvPr id="12" name="Freeform 7"/>
            <p:cNvSpPr>
              <a:spLocks/>
            </p:cNvSpPr>
            <p:nvPr/>
          </p:nvSpPr>
          <p:spPr bwMode="auto">
            <a:xfrm flipH="1">
              <a:off x="2042648" y="5089892"/>
              <a:ext cx="1323762" cy="1212495"/>
            </a:xfrm>
            <a:custGeom>
              <a:avLst/>
              <a:gdLst>
                <a:gd name="T0" fmla="*/ 294 w 1543"/>
                <a:gd name="T1" fmla="*/ 1149 h 1149"/>
                <a:gd name="T2" fmla="*/ 168 w 1543"/>
                <a:gd name="T3" fmla="*/ 1130 h 1149"/>
                <a:gd name="T4" fmla="*/ 77 w 1543"/>
                <a:gd name="T5" fmla="*/ 1082 h 1149"/>
                <a:gd name="T6" fmla="*/ 21 w 1543"/>
                <a:gd name="T7" fmla="*/ 1013 h 1149"/>
                <a:gd name="T8" fmla="*/ 0 w 1543"/>
                <a:gd name="T9" fmla="*/ 932 h 1149"/>
                <a:gd name="T10" fmla="*/ 10 w 1543"/>
                <a:gd name="T11" fmla="*/ 850 h 1149"/>
                <a:gd name="T12" fmla="*/ 51 w 1543"/>
                <a:gd name="T13" fmla="*/ 778 h 1149"/>
                <a:gd name="T14" fmla="*/ 124 w 1543"/>
                <a:gd name="T15" fmla="*/ 721 h 1149"/>
                <a:gd name="T16" fmla="*/ 225 w 1543"/>
                <a:gd name="T17" fmla="*/ 694 h 1149"/>
                <a:gd name="T18" fmla="*/ 202 w 1543"/>
                <a:gd name="T19" fmla="*/ 661 h 1149"/>
                <a:gd name="T20" fmla="*/ 190 w 1543"/>
                <a:gd name="T21" fmla="*/ 621 h 1149"/>
                <a:gd name="T22" fmla="*/ 188 w 1543"/>
                <a:gd name="T23" fmla="*/ 575 h 1149"/>
                <a:gd name="T24" fmla="*/ 195 w 1543"/>
                <a:gd name="T25" fmla="*/ 524 h 1149"/>
                <a:gd name="T26" fmla="*/ 213 w 1543"/>
                <a:gd name="T27" fmla="*/ 471 h 1149"/>
                <a:gd name="T28" fmla="*/ 238 w 1543"/>
                <a:gd name="T29" fmla="*/ 418 h 1149"/>
                <a:gd name="T30" fmla="*/ 271 w 1543"/>
                <a:gd name="T31" fmla="*/ 367 h 1149"/>
                <a:gd name="T32" fmla="*/ 313 w 1543"/>
                <a:gd name="T33" fmla="*/ 320 h 1149"/>
                <a:gd name="T34" fmla="*/ 361 w 1543"/>
                <a:gd name="T35" fmla="*/ 279 h 1149"/>
                <a:gd name="T36" fmla="*/ 417 w 1543"/>
                <a:gd name="T37" fmla="*/ 245 h 1149"/>
                <a:gd name="T38" fmla="*/ 478 w 1543"/>
                <a:gd name="T39" fmla="*/ 222 h 1149"/>
                <a:gd name="T40" fmla="*/ 546 w 1543"/>
                <a:gd name="T41" fmla="*/ 211 h 1149"/>
                <a:gd name="T42" fmla="*/ 617 w 1543"/>
                <a:gd name="T43" fmla="*/ 214 h 1149"/>
                <a:gd name="T44" fmla="*/ 694 w 1543"/>
                <a:gd name="T45" fmla="*/ 234 h 1149"/>
                <a:gd name="T46" fmla="*/ 775 w 1543"/>
                <a:gd name="T47" fmla="*/ 271 h 1149"/>
                <a:gd name="T48" fmla="*/ 859 w 1543"/>
                <a:gd name="T49" fmla="*/ 328 h 1149"/>
                <a:gd name="T50" fmla="*/ 859 w 1543"/>
                <a:gd name="T51" fmla="*/ 253 h 1149"/>
                <a:gd name="T52" fmla="*/ 896 w 1543"/>
                <a:gd name="T53" fmla="*/ 174 h 1149"/>
                <a:gd name="T54" fmla="*/ 964 w 1543"/>
                <a:gd name="T55" fmla="*/ 99 h 1149"/>
                <a:gd name="T56" fmla="*/ 1056 w 1543"/>
                <a:gd name="T57" fmla="*/ 39 h 1149"/>
                <a:gd name="T58" fmla="*/ 1166 w 1543"/>
                <a:gd name="T59" fmla="*/ 4 h 1149"/>
                <a:gd name="T60" fmla="*/ 1288 w 1543"/>
                <a:gd name="T61" fmla="*/ 6 h 1149"/>
                <a:gd name="T62" fmla="*/ 1416 w 1543"/>
                <a:gd name="T63" fmla="*/ 53 h 1149"/>
                <a:gd name="T64" fmla="*/ 1543 w 1543"/>
                <a:gd name="T65" fmla="*/ 157 h 1149"/>
                <a:gd name="T66" fmla="*/ 1543 w 1543"/>
                <a:gd name="T67" fmla="*/ 703 h 1149"/>
                <a:gd name="T68" fmla="*/ 1543 w 1543"/>
                <a:gd name="T69" fmla="*/ 1148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3" h="1149">
                  <a:moveTo>
                    <a:pt x="1543" y="1148"/>
                  </a:moveTo>
                  <a:lnTo>
                    <a:pt x="294" y="1149"/>
                  </a:lnTo>
                  <a:lnTo>
                    <a:pt x="226" y="1144"/>
                  </a:lnTo>
                  <a:lnTo>
                    <a:pt x="168" y="1130"/>
                  </a:lnTo>
                  <a:lnTo>
                    <a:pt x="118" y="1110"/>
                  </a:lnTo>
                  <a:lnTo>
                    <a:pt x="77" y="1082"/>
                  </a:lnTo>
                  <a:lnTo>
                    <a:pt x="45" y="1050"/>
                  </a:lnTo>
                  <a:lnTo>
                    <a:pt x="21" y="1013"/>
                  </a:lnTo>
                  <a:lnTo>
                    <a:pt x="6" y="974"/>
                  </a:lnTo>
                  <a:lnTo>
                    <a:pt x="0" y="932"/>
                  </a:lnTo>
                  <a:lnTo>
                    <a:pt x="1" y="891"/>
                  </a:lnTo>
                  <a:lnTo>
                    <a:pt x="10" y="850"/>
                  </a:lnTo>
                  <a:lnTo>
                    <a:pt x="27" y="812"/>
                  </a:lnTo>
                  <a:lnTo>
                    <a:pt x="51" y="778"/>
                  </a:lnTo>
                  <a:lnTo>
                    <a:pt x="85" y="747"/>
                  </a:lnTo>
                  <a:lnTo>
                    <a:pt x="124" y="721"/>
                  </a:lnTo>
                  <a:lnTo>
                    <a:pt x="171" y="704"/>
                  </a:lnTo>
                  <a:lnTo>
                    <a:pt x="225" y="694"/>
                  </a:lnTo>
                  <a:lnTo>
                    <a:pt x="213" y="679"/>
                  </a:lnTo>
                  <a:lnTo>
                    <a:pt x="202" y="661"/>
                  </a:lnTo>
                  <a:lnTo>
                    <a:pt x="195" y="643"/>
                  </a:lnTo>
                  <a:lnTo>
                    <a:pt x="190" y="621"/>
                  </a:lnTo>
                  <a:lnTo>
                    <a:pt x="187" y="599"/>
                  </a:lnTo>
                  <a:lnTo>
                    <a:pt x="188" y="575"/>
                  </a:lnTo>
                  <a:lnTo>
                    <a:pt x="191" y="550"/>
                  </a:lnTo>
                  <a:lnTo>
                    <a:pt x="195" y="524"/>
                  </a:lnTo>
                  <a:lnTo>
                    <a:pt x="203" y="498"/>
                  </a:lnTo>
                  <a:lnTo>
                    <a:pt x="213" y="471"/>
                  </a:lnTo>
                  <a:lnTo>
                    <a:pt x="224" y="445"/>
                  </a:lnTo>
                  <a:lnTo>
                    <a:pt x="238" y="418"/>
                  </a:lnTo>
                  <a:lnTo>
                    <a:pt x="254" y="393"/>
                  </a:lnTo>
                  <a:lnTo>
                    <a:pt x="271" y="367"/>
                  </a:lnTo>
                  <a:lnTo>
                    <a:pt x="291" y="343"/>
                  </a:lnTo>
                  <a:lnTo>
                    <a:pt x="313" y="320"/>
                  </a:lnTo>
                  <a:lnTo>
                    <a:pt x="337" y="298"/>
                  </a:lnTo>
                  <a:lnTo>
                    <a:pt x="361" y="279"/>
                  </a:lnTo>
                  <a:lnTo>
                    <a:pt x="389" y="261"/>
                  </a:lnTo>
                  <a:lnTo>
                    <a:pt x="417" y="245"/>
                  </a:lnTo>
                  <a:lnTo>
                    <a:pt x="446" y="233"/>
                  </a:lnTo>
                  <a:lnTo>
                    <a:pt x="478" y="222"/>
                  </a:lnTo>
                  <a:lnTo>
                    <a:pt x="511" y="215"/>
                  </a:lnTo>
                  <a:lnTo>
                    <a:pt x="546" y="211"/>
                  </a:lnTo>
                  <a:lnTo>
                    <a:pt x="580" y="211"/>
                  </a:lnTo>
                  <a:lnTo>
                    <a:pt x="617" y="214"/>
                  </a:lnTo>
                  <a:lnTo>
                    <a:pt x="655" y="222"/>
                  </a:lnTo>
                  <a:lnTo>
                    <a:pt x="694" y="234"/>
                  </a:lnTo>
                  <a:lnTo>
                    <a:pt x="733" y="250"/>
                  </a:lnTo>
                  <a:lnTo>
                    <a:pt x="775" y="271"/>
                  </a:lnTo>
                  <a:lnTo>
                    <a:pt x="816" y="297"/>
                  </a:lnTo>
                  <a:lnTo>
                    <a:pt x="859" y="328"/>
                  </a:lnTo>
                  <a:lnTo>
                    <a:pt x="853" y="293"/>
                  </a:lnTo>
                  <a:lnTo>
                    <a:pt x="859" y="253"/>
                  </a:lnTo>
                  <a:lnTo>
                    <a:pt x="873" y="214"/>
                  </a:lnTo>
                  <a:lnTo>
                    <a:pt x="896" y="174"/>
                  </a:lnTo>
                  <a:lnTo>
                    <a:pt x="926" y="136"/>
                  </a:lnTo>
                  <a:lnTo>
                    <a:pt x="964" y="99"/>
                  </a:lnTo>
                  <a:lnTo>
                    <a:pt x="1007" y="67"/>
                  </a:lnTo>
                  <a:lnTo>
                    <a:pt x="1056" y="39"/>
                  </a:lnTo>
                  <a:lnTo>
                    <a:pt x="1109" y="18"/>
                  </a:lnTo>
                  <a:lnTo>
                    <a:pt x="1166" y="4"/>
                  </a:lnTo>
                  <a:lnTo>
                    <a:pt x="1226" y="0"/>
                  </a:lnTo>
                  <a:lnTo>
                    <a:pt x="1288" y="6"/>
                  </a:lnTo>
                  <a:lnTo>
                    <a:pt x="1352" y="23"/>
                  </a:lnTo>
                  <a:lnTo>
                    <a:pt x="1416" y="53"/>
                  </a:lnTo>
                  <a:lnTo>
                    <a:pt x="1480" y="98"/>
                  </a:lnTo>
                  <a:lnTo>
                    <a:pt x="1543" y="157"/>
                  </a:lnTo>
                  <a:lnTo>
                    <a:pt x="1543" y="369"/>
                  </a:lnTo>
                  <a:lnTo>
                    <a:pt x="1543" y="703"/>
                  </a:lnTo>
                  <a:lnTo>
                    <a:pt x="1543" y="1012"/>
                  </a:lnTo>
                  <a:lnTo>
                    <a:pt x="1543" y="114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zh-TW" altLang="en-US"/>
            </a:p>
          </p:txBody>
        </p:sp>
      </p:grpSp>
      <p:sp>
        <p:nvSpPr>
          <p:cNvPr id="3" name="文字方塊 2"/>
          <p:cNvSpPr txBox="1"/>
          <p:nvPr/>
        </p:nvSpPr>
        <p:spPr>
          <a:xfrm>
            <a:off x="5089286" y="3626498"/>
            <a:ext cx="2167623" cy="276999"/>
          </a:xfrm>
          <a:prstGeom prst="rect">
            <a:avLst/>
          </a:prstGeom>
          <a:noFill/>
        </p:spPr>
        <p:txBody>
          <a:bodyPr wrap="square" lIns="0" tIns="0" rIns="0" bIns="0" rtlCol="0">
            <a:spAutoFit/>
          </a:bodyPr>
          <a:lstStyle/>
          <a:p>
            <a:r>
              <a:rPr lang="en-US" altLang="zh-TW" dirty="0">
                <a:gradFill>
                  <a:gsLst>
                    <a:gs pos="0">
                      <a:schemeClr val="tx1"/>
                    </a:gs>
                    <a:gs pos="100000">
                      <a:schemeClr val="tx1"/>
                    </a:gs>
                  </a:gsLst>
                  <a:lin ang="16200000" scaled="0"/>
                </a:gradFill>
              </a:rPr>
              <a:t>Microsoft Data Center</a:t>
            </a:r>
            <a:endParaRPr lang="zh-TW" altLang="en-US" dirty="0">
              <a:gradFill>
                <a:gsLst>
                  <a:gs pos="0">
                    <a:schemeClr val="tx1"/>
                  </a:gs>
                  <a:gs pos="100000">
                    <a:schemeClr val="tx1"/>
                  </a:gs>
                </a:gsLst>
                <a:lin ang="16200000" scaled="0"/>
              </a:gradFill>
            </a:endParaRPr>
          </a:p>
        </p:txBody>
      </p:sp>
      <p:sp>
        <p:nvSpPr>
          <p:cNvPr id="29" name="文字方塊 28"/>
          <p:cNvSpPr txBox="1"/>
          <p:nvPr/>
        </p:nvSpPr>
        <p:spPr>
          <a:xfrm>
            <a:off x="1905001" y="6165306"/>
            <a:ext cx="3627567" cy="276999"/>
          </a:xfrm>
          <a:prstGeom prst="rect">
            <a:avLst/>
          </a:prstGeom>
          <a:noFill/>
        </p:spPr>
        <p:txBody>
          <a:bodyPr wrap="square" lIns="0" tIns="0" rIns="0" bIns="0" rtlCol="0">
            <a:spAutoFit/>
          </a:bodyPr>
          <a:lstStyle/>
          <a:p>
            <a:pPr algn="ctr"/>
            <a:r>
              <a:rPr lang="en-US" altLang="zh-TW" dirty="0">
                <a:gradFill>
                  <a:gsLst>
                    <a:gs pos="0">
                      <a:schemeClr val="tx1"/>
                    </a:gs>
                    <a:gs pos="100000">
                      <a:schemeClr val="tx1"/>
                    </a:gs>
                  </a:gsLst>
                  <a:lin ang="16200000" scaled="0"/>
                </a:gradFill>
              </a:rPr>
              <a:t>Services Provider Data Center</a:t>
            </a:r>
            <a:endParaRPr lang="zh-TW" altLang="en-US" dirty="0">
              <a:gradFill>
                <a:gsLst>
                  <a:gs pos="0">
                    <a:schemeClr val="tx1"/>
                  </a:gs>
                  <a:gs pos="100000">
                    <a:schemeClr val="tx1"/>
                  </a:gs>
                </a:gsLst>
                <a:lin ang="16200000" scaled="0"/>
              </a:gradFill>
            </a:endParaRPr>
          </a:p>
        </p:txBody>
      </p:sp>
      <p:sp>
        <p:nvSpPr>
          <p:cNvPr id="30" name="文字方塊 29"/>
          <p:cNvSpPr txBox="1"/>
          <p:nvPr/>
        </p:nvSpPr>
        <p:spPr>
          <a:xfrm>
            <a:off x="7355766" y="6148711"/>
            <a:ext cx="2675361" cy="276999"/>
          </a:xfrm>
          <a:prstGeom prst="rect">
            <a:avLst/>
          </a:prstGeom>
          <a:noFill/>
        </p:spPr>
        <p:txBody>
          <a:bodyPr wrap="square" lIns="0" tIns="0" rIns="0" bIns="0" rtlCol="0">
            <a:spAutoFit/>
          </a:bodyPr>
          <a:lstStyle/>
          <a:p>
            <a:pPr algn="ctr"/>
            <a:r>
              <a:rPr lang="en-US" altLang="zh-TW" dirty="0">
                <a:gradFill>
                  <a:gsLst>
                    <a:gs pos="0">
                      <a:schemeClr val="tx1"/>
                    </a:gs>
                    <a:gs pos="100000">
                      <a:schemeClr val="tx1"/>
                    </a:gs>
                  </a:gsLst>
                  <a:lin ang="16200000" scaled="0"/>
                </a:gradFill>
              </a:rPr>
              <a:t>Enterprise Data Center</a:t>
            </a:r>
            <a:endParaRPr lang="zh-TW" altLang="en-US" dirty="0">
              <a:gradFill>
                <a:gsLst>
                  <a:gs pos="0">
                    <a:schemeClr val="tx1"/>
                  </a:gs>
                  <a:gs pos="100000">
                    <a:schemeClr val="tx1"/>
                  </a:gs>
                </a:gsLst>
                <a:lin ang="16200000" scaled="0"/>
              </a:gradFill>
            </a:endParaRPr>
          </a:p>
        </p:txBody>
      </p:sp>
      <p:grpSp>
        <p:nvGrpSpPr>
          <p:cNvPr id="15" name="群組 14"/>
          <p:cNvGrpSpPr/>
          <p:nvPr/>
        </p:nvGrpSpPr>
        <p:grpSpPr>
          <a:xfrm>
            <a:off x="4463080" y="5283868"/>
            <a:ext cx="5682607" cy="836630"/>
            <a:chOff x="2939079" y="5283868"/>
            <a:chExt cx="5682607" cy="836630"/>
          </a:xfrm>
        </p:grpSpPr>
        <p:grpSp>
          <p:nvGrpSpPr>
            <p:cNvPr id="31" name="Group 43"/>
            <p:cNvGrpSpPr/>
            <p:nvPr/>
          </p:nvGrpSpPr>
          <p:grpSpPr>
            <a:xfrm>
              <a:off x="7417296" y="5283868"/>
              <a:ext cx="1204390" cy="661842"/>
              <a:chOff x="1813400" y="3179248"/>
              <a:chExt cx="1201298" cy="854824"/>
            </a:xfrm>
          </p:grpSpPr>
          <p:pic>
            <p:nvPicPr>
              <p:cNvPr id="32" name="Picture 4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20547" y="3363392"/>
                <a:ext cx="387003" cy="670680"/>
              </a:xfrm>
              <a:prstGeom prst="rect">
                <a:avLst/>
              </a:prstGeom>
            </p:spPr>
          </p:pic>
          <p:pic>
            <p:nvPicPr>
              <p:cNvPr id="33" name="Picture 4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27695" y="3262703"/>
                <a:ext cx="387003" cy="670679"/>
              </a:xfrm>
              <a:prstGeom prst="rect">
                <a:avLst/>
              </a:prstGeom>
            </p:spPr>
          </p:pic>
          <p:pic>
            <p:nvPicPr>
              <p:cNvPr id="34" name="Picture 4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13400" y="3179248"/>
                <a:ext cx="387003" cy="670680"/>
              </a:xfrm>
              <a:prstGeom prst="rect">
                <a:avLst/>
              </a:prstGeom>
            </p:spPr>
          </p:pic>
        </p:grpSp>
        <p:pic>
          <p:nvPicPr>
            <p:cNvPr id="35" name="Picture 5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39079" y="5284722"/>
              <a:ext cx="1069489" cy="835776"/>
            </a:xfrm>
            <a:prstGeom prst="rect">
              <a:avLst/>
            </a:prstGeom>
          </p:spPr>
        </p:pic>
      </p:grpSp>
      <p:pic>
        <p:nvPicPr>
          <p:cNvPr id="36" name="Picture 5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59763" y="2716625"/>
            <a:ext cx="1349110" cy="1054292"/>
          </a:xfrm>
          <a:prstGeom prst="rect">
            <a:avLst/>
          </a:prstGeom>
        </p:spPr>
      </p:pic>
      <p:sp>
        <p:nvSpPr>
          <p:cNvPr id="16" name="TextBox 15"/>
          <p:cNvSpPr txBox="1"/>
          <p:nvPr/>
        </p:nvSpPr>
        <p:spPr>
          <a:xfrm>
            <a:off x="2652001" y="4951350"/>
            <a:ext cx="2303438" cy="246221"/>
          </a:xfrm>
          <a:prstGeom prst="rect">
            <a:avLst/>
          </a:prstGeom>
          <a:noFill/>
        </p:spPr>
        <p:txBody>
          <a:bodyPr wrap="square" lIns="0" tIns="0" rIns="0" bIns="0" rtlCol="0">
            <a:spAutoFit/>
          </a:bodyPr>
          <a:lstStyle/>
          <a:p>
            <a:r>
              <a:rPr lang="en-US" altLang="zh-TW" sz="1600" dirty="0">
                <a:solidFill>
                  <a:schemeClr val="bg2">
                    <a:lumMod val="60000"/>
                    <a:lumOff val="40000"/>
                  </a:schemeClr>
                </a:solidFill>
                <a:latin typeface="Segoe UI" pitchFamily="34" charset="0"/>
              </a:rPr>
              <a:t>Windows Azure Pack</a:t>
            </a:r>
            <a:endParaRPr lang="zh-TW" altLang="en-US" sz="1600" dirty="0" err="1">
              <a:solidFill>
                <a:schemeClr val="bg2">
                  <a:lumMod val="60000"/>
                  <a:lumOff val="40000"/>
                </a:schemeClr>
              </a:solidFill>
              <a:latin typeface="Segoe UI" pitchFamily="34" charset="0"/>
            </a:endParaRPr>
          </a:p>
        </p:txBody>
      </p:sp>
      <p:sp>
        <p:nvSpPr>
          <p:cNvPr id="38" name="TextBox 37"/>
          <p:cNvSpPr txBox="1"/>
          <p:nvPr/>
        </p:nvSpPr>
        <p:spPr>
          <a:xfrm>
            <a:off x="7534318" y="4951350"/>
            <a:ext cx="2303438" cy="246221"/>
          </a:xfrm>
          <a:prstGeom prst="rect">
            <a:avLst/>
          </a:prstGeom>
          <a:noFill/>
        </p:spPr>
        <p:txBody>
          <a:bodyPr wrap="square" lIns="0" tIns="0" rIns="0" bIns="0" rtlCol="0">
            <a:spAutoFit/>
          </a:bodyPr>
          <a:lstStyle/>
          <a:p>
            <a:r>
              <a:rPr lang="en-US" altLang="zh-TW" sz="1600" dirty="0">
                <a:solidFill>
                  <a:schemeClr val="bg2">
                    <a:lumMod val="60000"/>
                    <a:lumOff val="40000"/>
                  </a:schemeClr>
                </a:solidFill>
                <a:latin typeface="Segoe UI" pitchFamily="34" charset="0"/>
              </a:rPr>
              <a:t>Windows Azure Pack</a:t>
            </a:r>
            <a:endParaRPr lang="zh-TW" altLang="en-US" sz="1600" dirty="0" err="1">
              <a:solidFill>
                <a:schemeClr val="bg2">
                  <a:lumMod val="60000"/>
                  <a:lumOff val="40000"/>
                </a:schemeClr>
              </a:solidFill>
              <a:latin typeface="Segoe UI" pitchFamily="34" charset="0"/>
            </a:endParaRPr>
          </a:p>
        </p:txBody>
      </p:sp>
      <p:pic>
        <p:nvPicPr>
          <p:cNvPr id="17" name="Picture 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34482" y="5388878"/>
            <a:ext cx="1745214" cy="316407"/>
          </a:xfrm>
          <a:prstGeom prst="rect">
            <a:avLst/>
          </a:prstGeom>
        </p:spPr>
      </p:pic>
      <p:pic>
        <p:nvPicPr>
          <p:cNvPr id="39" name="Picture 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21755" y="5366829"/>
            <a:ext cx="1745214" cy="316407"/>
          </a:xfrm>
          <a:prstGeom prst="rect">
            <a:avLst/>
          </a:prstGeom>
        </p:spPr>
      </p:pic>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05639" y="2514532"/>
            <a:ext cx="2054125" cy="476266"/>
          </a:xfrm>
          <a:prstGeom prst="rect">
            <a:avLst/>
          </a:prstGeom>
        </p:spPr>
      </p:pic>
      <p:sp>
        <p:nvSpPr>
          <p:cNvPr id="14" name="Circular Arrow 13"/>
          <p:cNvSpPr/>
          <p:nvPr/>
        </p:nvSpPr>
        <p:spPr bwMode="auto">
          <a:xfrm rot="4089989">
            <a:off x="5590621" y="3919824"/>
            <a:ext cx="1241733" cy="1159508"/>
          </a:xfrm>
          <a:prstGeom prst="circularArrow">
            <a:avLst/>
          </a:prstGeom>
          <a:solidFill>
            <a:schemeClr val="tx1"/>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zh-TW" alt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40" name="Circular Arrow 39"/>
          <p:cNvSpPr/>
          <p:nvPr/>
        </p:nvSpPr>
        <p:spPr bwMode="auto">
          <a:xfrm rot="14663730">
            <a:off x="5447210" y="3917654"/>
            <a:ext cx="1241733" cy="1280581"/>
          </a:xfrm>
          <a:prstGeom prst="circularArrow">
            <a:avLst/>
          </a:prstGeom>
          <a:solidFill>
            <a:schemeClr val="tx1"/>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zh-TW" alt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41" name="Rectangle 31"/>
          <p:cNvSpPr txBox="1">
            <a:spLocks noGrp="1" noChangeArrowheads="1"/>
          </p:cNvSpPr>
          <p:nvPr>
            <p:ph type="title"/>
          </p:nvPr>
        </p:nvSpPr>
        <p:spPr>
          <a:xfrm>
            <a:off x="1909394" y="839343"/>
            <a:ext cx="8655336"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3200" dirty="0">
                <a:solidFill>
                  <a:srgbClr val="FFFFFF"/>
                </a:solidFill>
                <a:latin typeface="+mn-lt"/>
              </a:rPr>
              <a:t>Consistent experiences across the Cloud OS</a:t>
            </a:r>
          </a:p>
        </p:txBody>
      </p:sp>
      <p:sp>
        <p:nvSpPr>
          <p:cNvPr id="42" name="Title 1"/>
          <p:cNvSpPr txBox="1">
            <a:spLocks/>
          </p:cNvSpPr>
          <p:nvPr/>
        </p:nvSpPr>
        <p:spPr>
          <a:xfrm>
            <a:off x="1905000" y="230195"/>
            <a:ext cx="838200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Segoe UI" pitchFamily="34" charset="0"/>
                <a:ea typeface="+mn-ea"/>
                <a:cs typeface="Segoe UI" pitchFamily="34" charset="0"/>
              </a:defRPr>
            </a:lvl1pPr>
          </a:lstStyle>
          <a:p>
            <a:r>
              <a:rPr lang="en-US" altLang="zh-TW" dirty="0">
                <a:effectLst/>
              </a:rPr>
              <a:t>Microsoft Cloud OS</a:t>
            </a:r>
            <a:endParaRPr lang="en-US" dirty="0">
              <a:effectLst/>
            </a:endParaRPr>
          </a:p>
        </p:txBody>
      </p:sp>
    </p:spTree>
    <p:extLst>
      <p:ext uri="{BB962C8B-B14F-4D97-AF65-F5344CB8AC3E}">
        <p14:creationId xmlns:p14="http://schemas.microsoft.com/office/powerpoint/2010/main" val="1259472198"/>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99297" y="2282868"/>
            <a:ext cx="5216882" cy="2803759"/>
            <a:chOff x="395371" y="1139688"/>
            <a:chExt cx="8399866" cy="4651514"/>
          </a:xfrm>
          <a:solidFill>
            <a:schemeClr val="accent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914122"/>
              <a:endParaRPr lang="en-US" dirty="0">
                <a:solidFill>
                  <a:srgbClr val="292929"/>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914122"/>
              <a:endParaRPr lang="en-US">
                <a:solidFill>
                  <a:srgbClr val="292929"/>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914122"/>
              <a:endParaRPr lang="en-US" dirty="0">
                <a:solidFill>
                  <a:srgbClr val="292929"/>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914122"/>
              <a:endParaRPr lang="en-US">
                <a:solidFill>
                  <a:srgbClr val="292929"/>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914122"/>
              <a:endParaRPr lang="en-US">
                <a:solidFill>
                  <a:srgbClr val="292929"/>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914122"/>
              <a:endParaRPr lang="en-US">
                <a:solidFill>
                  <a:srgbClr val="292929"/>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914122"/>
              <a:endParaRPr lang="en-US">
                <a:solidFill>
                  <a:srgbClr val="292929"/>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914122"/>
              <a:endParaRPr lang="en-US">
                <a:solidFill>
                  <a:srgbClr val="292929"/>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914122"/>
              <a:endParaRPr lang="en-US">
                <a:solidFill>
                  <a:srgbClr val="292929"/>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914122"/>
              <a:endParaRPr lang="en-US">
                <a:solidFill>
                  <a:srgbClr val="292929"/>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914122"/>
              <a:endParaRPr lang="en-US">
                <a:solidFill>
                  <a:srgbClr val="292929"/>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914122"/>
              <a:endParaRPr lang="en-US">
                <a:solidFill>
                  <a:srgbClr val="292929"/>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914122"/>
              <a:endParaRPr lang="en-US">
                <a:solidFill>
                  <a:srgbClr val="292929"/>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122"/>
              <a:endParaRPr lang="en-US">
                <a:solidFill>
                  <a:srgbClr val="292929"/>
                </a:solidFill>
              </a:endParaRPr>
            </a:p>
          </p:txBody>
        </p:sp>
      </p:grpSp>
      <p:sp>
        <p:nvSpPr>
          <p:cNvPr id="1315" name="Oval 1314"/>
          <p:cNvSpPr/>
          <p:nvPr/>
        </p:nvSpPr>
        <p:spPr bwMode="auto">
          <a:xfrm>
            <a:off x="2901111" y="3161917"/>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19" name="Oval 1318"/>
          <p:cNvSpPr/>
          <p:nvPr/>
        </p:nvSpPr>
        <p:spPr bwMode="auto">
          <a:xfrm>
            <a:off x="2323137" y="3242702"/>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0" name="Oval 1319"/>
          <p:cNvSpPr/>
          <p:nvPr/>
        </p:nvSpPr>
        <p:spPr bwMode="auto">
          <a:xfrm>
            <a:off x="2824243" y="3396393"/>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1" name="Oval 1320"/>
          <p:cNvSpPr/>
          <p:nvPr/>
        </p:nvSpPr>
        <p:spPr bwMode="auto">
          <a:xfrm>
            <a:off x="3001626" y="3069304"/>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2" name="Oval 1321"/>
          <p:cNvSpPr/>
          <p:nvPr/>
        </p:nvSpPr>
        <p:spPr bwMode="auto">
          <a:xfrm>
            <a:off x="2272877" y="2897879"/>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3" name="Oval 1322"/>
          <p:cNvSpPr/>
          <p:nvPr/>
        </p:nvSpPr>
        <p:spPr bwMode="auto">
          <a:xfrm>
            <a:off x="4330521" y="2726452"/>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5" name="Oval 1324"/>
          <p:cNvSpPr/>
          <p:nvPr/>
        </p:nvSpPr>
        <p:spPr bwMode="auto">
          <a:xfrm>
            <a:off x="3847153" y="2945167"/>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6" name="Oval 1325"/>
          <p:cNvSpPr/>
          <p:nvPr/>
        </p:nvSpPr>
        <p:spPr bwMode="auto">
          <a:xfrm>
            <a:off x="4036360" y="2653548"/>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7" name="Oval 1326"/>
          <p:cNvSpPr/>
          <p:nvPr/>
        </p:nvSpPr>
        <p:spPr bwMode="auto">
          <a:xfrm>
            <a:off x="4104359" y="2939258"/>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8" name="Oval 1327"/>
          <p:cNvSpPr/>
          <p:nvPr/>
        </p:nvSpPr>
        <p:spPr bwMode="auto">
          <a:xfrm>
            <a:off x="4031927" y="3012162"/>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29" name="Oval 1328"/>
          <p:cNvSpPr/>
          <p:nvPr/>
        </p:nvSpPr>
        <p:spPr bwMode="auto">
          <a:xfrm>
            <a:off x="6025367" y="4275069"/>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0" name="Oval 1329"/>
          <p:cNvSpPr/>
          <p:nvPr/>
        </p:nvSpPr>
        <p:spPr bwMode="auto">
          <a:xfrm>
            <a:off x="5322388" y="3453535"/>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1" name="Oval 1330"/>
          <p:cNvSpPr/>
          <p:nvPr/>
        </p:nvSpPr>
        <p:spPr bwMode="auto">
          <a:xfrm>
            <a:off x="5732088" y="3477055"/>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2" name="Oval 1331"/>
          <p:cNvSpPr/>
          <p:nvPr/>
        </p:nvSpPr>
        <p:spPr bwMode="auto">
          <a:xfrm>
            <a:off x="2165256" y="3056434"/>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3" name="Oval 1332"/>
          <p:cNvSpPr/>
          <p:nvPr/>
        </p:nvSpPr>
        <p:spPr bwMode="auto">
          <a:xfrm>
            <a:off x="6157950" y="4440042"/>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4" name="Oval 1333"/>
          <p:cNvSpPr/>
          <p:nvPr/>
        </p:nvSpPr>
        <p:spPr bwMode="auto">
          <a:xfrm>
            <a:off x="6017583" y="3279093"/>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5" name="Oval 1334"/>
          <p:cNvSpPr/>
          <p:nvPr/>
        </p:nvSpPr>
        <p:spPr bwMode="auto">
          <a:xfrm>
            <a:off x="5819993" y="3209310"/>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36" name="Oval 1335"/>
          <p:cNvSpPr/>
          <p:nvPr/>
        </p:nvSpPr>
        <p:spPr bwMode="auto">
          <a:xfrm>
            <a:off x="4519728" y="3459320"/>
            <a:ext cx="175810" cy="234353"/>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0" name="Group 9"/>
          <p:cNvGrpSpPr/>
          <p:nvPr/>
        </p:nvGrpSpPr>
        <p:grpSpPr>
          <a:xfrm>
            <a:off x="2183255" y="2897878"/>
            <a:ext cx="3958537" cy="914024"/>
            <a:chOff x="615801" y="2443650"/>
            <a:chExt cx="7036563" cy="1218871"/>
          </a:xfrm>
        </p:grpSpPr>
        <p:sp>
          <p:nvSpPr>
            <p:cNvPr id="1269" name="Oval 1268"/>
            <p:cNvSpPr/>
            <p:nvPr/>
          </p:nvSpPr>
          <p:spPr bwMode="auto">
            <a:xfrm>
              <a:off x="615801" y="2749463"/>
              <a:ext cx="312516"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65" name="Oval 1264"/>
            <p:cNvSpPr/>
            <p:nvPr/>
          </p:nvSpPr>
          <p:spPr bwMode="auto">
            <a:xfrm>
              <a:off x="1911198" y="2828507"/>
              <a:ext cx="312516"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71" name="Oval 1270"/>
            <p:cNvSpPr/>
            <p:nvPr/>
          </p:nvSpPr>
          <p:spPr bwMode="auto">
            <a:xfrm>
              <a:off x="1304887" y="2973380"/>
              <a:ext cx="312516"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dirty="0">
                <a:solidFill>
                  <a:srgbClr val="FFFFFF"/>
                </a:solidFill>
              </a:endParaRPr>
            </a:p>
          </p:txBody>
        </p:sp>
        <p:sp>
          <p:nvSpPr>
            <p:cNvPr id="1311" name="Oval 1310"/>
            <p:cNvSpPr/>
            <p:nvPr/>
          </p:nvSpPr>
          <p:spPr bwMode="auto">
            <a:xfrm>
              <a:off x="7339848" y="3011573"/>
              <a:ext cx="312516"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3" rIns="68567" bIns="34283" numCol="1" rtlCol="0" anchor="ctr" anchorCtr="0" compatLnSpc="1">
              <a:prstTxWarp prst="textNoShape">
                <a:avLst/>
              </a:prstTxWarp>
            </a:bodyPr>
            <a:lstStyle/>
            <a:p>
              <a:pPr algn="ctr" defTabSz="685485" fontAlgn="base">
                <a:spcBef>
                  <a:spcPct val="0"/>
                </a:spcBef>
                <a:spcAft>
                  <a:spcPct val="0"/>
                </a:spcAft>
              </a:pPr>
              <a:endParaRPr lang="en-US" dirty="0">
                <a:solidFill>
                  <a:srgbClr val="FFFFFF"/>
                </a:solidFill>
              </a:endParaRPr>
            </a:p>
          </p:txBody>
        </p:sp>
      </p:grpSp>
      <p:sp>
        <p:nvSpPr>
          <p:cNvPr id="7" name="Title 6"/>
          <p:cNvSpPr>
            <a:spLocks noGrp="1"/>
          </p:cNvSpPr>
          <p:nvPr>
            <p:ph type="title"/>
          </p:nvPr>
        </p:nvSpPr>
        <p:spPr>
          <a:xfrm>
            <a:off x="1638024" y="959012"/>
            <a:ext cx="8363938" cy="498726"/>
          </a:xfrm>
        </p:spPr>
        <p:txBody>
          <a:bodyPr/>
          <a:lstStyle/>
          <a:p>
            <a:r>
              <a:rPr lang="en-US" altLang="zh-TW" sz="3601" dirty="0">
                <a:solidFill>
                  <a:schemeClr val="tx2"/>
                </a:solidFill>
              </a:rPr>
              <a:t>Microsoft Azure </a:t>
            </a:r>
            <a:r>
              <a:rPr lang="zh-TW" altLang="en-US" sz="3601" dirty="0">
                <a:solidFill>
                  <a:schemeClr val="tx2"/>
                </a:solidFill>
              </a:rPr>
              <a:t>跨國資料中心</a:t>
            </a:r>
          </a:p>
        </p:txBody>
      </p:sp>
      <p:sp>
        <p:nvSpPr>
          <p:cNvPr id="8" name="Rectangle 7"/>
          <p:cNvSpPr/>
          <p:nvPr/>
        </p:nvSpPr>
        <p:spPr>
          <a:xfrm>
            <a:off x="6869455" y="2087915"/>
            <a:ext cx="3690008" cy="4316566"/>
          </a:xfrm>
          <a:prstGeom prst="rect">
            <a:avLst/>
          </a:prstGeom>
        </p:spPr>
        <p:txBody>
          <a:bodyPr wrap="square">
            <a:spAutoFit/>
          </a:bodyPr>
          <a:lstStyle/>
          <a:p>
            <a:pPr marL="210104" indent="-210104">
              <a:buFont typeface="Arial" panose="020B0604020202020204" pitchFamily="34" charset="0"/>
              <a:buChar char="•"/>
            </a:pPr>
            <a:r>
              <a:rPr lang="zh-TW" altLang="en-US" sz="1350" b="1" dirty="0"/>
              <a:t>北美洲</a:t>
            </a:r>
            <a:endParaRPr lang="en-US" altLang="zh-TW" sz="1350" b="1" dirty="0"/>
          </a:p>
          <a:p>
            <a:pPr marL="546269" lvl="1" indent="-210104">
              <a:buFont typeface="Arial" panose="020B0604020202020204" pitchFamily="34" charset="0"/>
              <a:buChar char="•"/>
            </a:pPr>
            <a:r>
              <a:rPr lang="en-US" altLang="zh-TW" sz="1350" dirty="0"/>
              <a:t>North-central US - Chicago, IL</a:t>
            </a:r>
          </a:p>
          <a:p>
            <a:pPr marL="546269" lvl="1" indent="-210104">
              <a:buFont typeface="Arial" panose="020B0604020202020204" pitchFamily="34" charset="0"/>
              <a:buChar char="•"/>
            </a:pPr>
            <a:r>
              <a:rPr lang="en-US" altLang="zh-TW" sz="1350" dirty="0"/>
              <a:t>South-central US - San Antonio, TX</a:t>
            </a:r>
          </a:p>
          <a:p>
            <a:pPr marL="546269" lvl="1" indent="-210104">
              <a:buFont typeface="Arial" panose="020B0604020202020204" pitchFamily="34" charset="0"/>
              <a:buChar char="•"/>
            </a:pPr>
            <a:r>
              <a:rPr lang="en-US" altLang="zh-TW" sz="1350" dirty="0"/>
              <a:t>West US - California</a:t>
            </a:r>
          </a:p>
          <a:p>
            <a:pPr marL="546269" lvl="1" indent="-210104">
              <a:buFont typeface="Arial" panose="020B0604020202020204" pitchFamily="34" charset="0"/>
              <a:buChar char="•"/>
            </a:pPr>
            <a:r>
              <a:rPr lang="en-US" altLang="zh-TW" sz="1350" dirty="0"/>
              <a:t>East US – Virginia</a:t>
            </a:r>
          </a:p>
          <a:p>
            <a:pPr marL="210104" indent="-210104">
              <a:buFont typeface="Arial" panose="020B0604020202020204" pitchFamily="34" charset="0"/>
              <a:buChar char="•"/>
            </a:pPr>
            <a:r>
              <a:rPr lang="zh-TW" altLang="en-US" sz="1350" b="1" dirty="0"/>
              <a:t>亞洲</a:t>
            </a:r>
            <a:r>
              <a:rPr lang="en-US" altLang="zh-TW" sz="1350" b="1" dirty="0"/>
              <a:t> </a:t>
            </a:r>
          </a:p>
          <a:p>
            <a:pPr marL="546269" lvl="1" indent="-210104">
              <a:buFont typeface="Arial" panose="020B0604020202020204" pitchFamily="34" charset="0"/>
              <a:buChar char="•"/>
            </a:pPr>
            <a:r>
              <a:rPr lang="en-US" altLang="zh-TW" sz="1350" dirty="0"/>
              <a:t>East Asia - Hong Kong</a:t>
            </a:r>
          </a:p>
          <a:p>
            <a:pPr marL="546269" lvl="1" indent="-210104">
              <a:buFont typeface="Arial" panose="020B0604020202020204" pitchFamily="34" charset="0"/>
              <a:buChar char="•"/>
            </a:pPr>
            <a:r>
              <a:rPr lang="en-US" altLang="zh-TW" sz="1350" dirty="0"/>
              <a:t>South East Asia – Singapore</a:t>
            </a:r>
          </a:p>
          <a:p>
            <a:pPr marL="210104" indent="-210104">
              <a:buFont typeface="Arial" panose="020B0604020202020204" pitchFamily="34" charset="0"/>
              <a:buChar char="•"/>
            </a:pPr>
            <a:r>
              <a:rPr lang="zh-TW" altLang="en-US" sz="1350" b="1" dirty="0"/>
              <a:t>歐洲</a:t>
            </a:r>
            <a:r>
              <a:rPr lang="en-US" altLang="zh-TW" sz="1350" b="1" dirty="0"/>
              <a:t> </a:t>
            </a:r>
          </a:p>
          <a:p>
            <a:pPr marL="546269" lvl="1" indent="-210104">
              <a:buFont typeface="Arial" panose="020B0604020202020204" pitchFamily="34" charset="0"/>
              <a:buChar char="•"/>
            </a:pPr>
            <a:r>
              <a:rPr lang="en-US" altLang="zh-TW" sz="1350" dirty="0"/>
              <a:t>North Europe - Dublin, Ireland</a:t>
            </a:r>
          </a:p>
          <a:p>
            <a:pPr marL="546269" lvl="1" indent="-210104">
              <a:buFont typeface="Arial" panose="020B0604020202020204" pitchFamily="34" charset="0"/>
              <a:buChar char="•"/>
            </a:pPr>
            <a:r>
              <a:rPr lang="en-US" altLang="zh-TW" sz="1350" dirty="0"/>
              <a:t>West Europe - Amsterdam, Netherlands</a:t>
            </a:r>
          </a:p>
          <a:p>
            <a:pPr marL="210104" indent="-210104">
              <a:buFont typeface="Arial" panose="020B0604020202020204" pitchFamily="34" charset="0"/>
              <a:buChar char="•"/>
            </a:pPr>
            <a:r>
              <a:rPr lang="zh-TW" altLang="en-US" sz="1350" b="1" dirty="0"/>
              <a:t>大洋洲</a:t>
            </a:r>
            <a:r>
              <a:rPr lang="en-US" altLang="zh-TW" sz="1350" b="1" dirty="0"/>
              <a:t> </a:t>
            </a:r>
            <a:r>
              <a:rPr lang="en-US" altLang="zh-TW" sz="1350" dirty="0"/>
              <a:t>(2014 H2)</a:t>
            </a:r>
          </a:p>
          <a:p>
            <a:pPr marL="546269" lvl="1" indent="-210104">
              <a:buFont typeface="Arial" panose="020B0604020202020204" pitchFamily="34" charset="0"/>
              <a:buChar char="•"/>
            </a:pPr>
            <a:r>
              <a:rPr lang="en-US" altLang="zh-TW" sz="1350" dirty="0"/>
              <a:t>Sydney, New South Wales</a:t>
            </a:r>
          </a:p>
          <a:p>
            <a:pPr marL="546269" lvl="1" indent="-210104">
              <a:buFont typeface="Arial" panose="020B0604020202020204" pitchFamily="34" charset="0"/>
              <a:buChar char="•"/>
            </a:pPr>
            <a:r>
              <a:rPr lang="en-US" altLang="zh-TW" sz="1350" dirty="0"/>
              <a:t>Melbourne, Victoria</a:t>
            </a:r>
          </a:p>
          <a:p>
            <a:pPr marL="210104" indent="-210104">
              <a:buFont typeface="Arial" panose="020B0604020202020204" pitchFamily="34" charset="0"/>
              <a:buChar char="•"/>
            </a:pPr>
            <a:r>
              <a:rPr lang="zh-TW" altLang="en-US" sz="1350" b="1" dirty="0"/>
              <a:t>日本</a:t>
            </a:r>
            <a:endParaRPr lang="en-US" altLang="zh-TW" sz="1350" dirty="0"/>
          </a:p>
          <a:p>
            <a:pPr marL="552925" lvl="1" indent="-210104">
              <a:buFont typeface="Arial" panose="020B0604020202020204" pitchFamily="34" charset="0"/>
              <a:buChar char="•"/>
            </a:pPr>
            <a:r>
              <a:rPr lang="en-US" altLang="zh-TW" sz="1350" dirty="0"/>
              <a:t>Tokyo</a:t>
            </a:r>
          </a:p>
          <a:p>
            <a:pPr marL="552925" lvl="1" indent="-210104">
              <a:buFont typeface="Arial" panose="020B0604020202020204" pitchFamily="34" charset="0"/>
              <a:buChar char="•"/>
            </a:pPr>
            <a:r>
              <a:rPr lang="en-US" altLang="zh-TW" sz="1350" dirty="0"/>
              <a:t>Kansai </a:t>
            </a:r>
          </a:p>
          <a:p>
            <a:pPr marL="95725" indent="-210104">
              <a:buFont typeface="Arial" panose="020B0604020202020204" pitchFamily="34" charset="0"/>
              <a:buChar char="•"/>
            </a:pPr>
            <a:r>
              <a:rPr lang="zh-TW" altLang="en-US" sz="1350" b="1" dirty="0"/>
              <a:t>南美洲</a:t>
            </a:r>
            <a:r>
              <a:rPr lang="en-US" altLang="zh-TW" sz="1350" b="1" dirty="0"/>
              <a:t> </a:t>
            </a:r>
            <a:r>
              <a:rPr lang="en-US" altLang="zh-TW" sz="1350" dirty="0"/>
              <a:t>(2014 H2)</a:t>
            </a:r>
          </a:p>
          <a:p>
            <a:pPr marL="552925" lvl="1" indent="-210104">
              <a:buFont typeface="Arial" panose="020B0604020202020204" pitchFamily="34" charset="0"/>
              <a:buChar char="•"/>
            </a:pPr>
            <a:r>
              <a:rPr lang="en-US" altLang="zh-TW" sz="1400" dirty="0"/>
              <a:t>Sao Paulo ,</a:t>
            </a:r>
            <a:r>
              <a:rPr lang="en-US" altLang="zh-TW" sz="1200" dirty="0"/>
              <a:t> Brazil </a:t>
            </a:r>
            <a:endParaRPr lang="en-US" altLang="zh-TW" sz="1350" dirty="0"/>
          </a:p>
          <a:p>
            <a:pPr marL="95725" indent="-210104">
              <a:buFont typeface="Arial" panose="020B0604020202020204" pitchFamily="34" charset="0"/>
              <a:buChar char="•"/>
            </a:pPr>
            <a:endParaRPr lang="en-US" altLang="zh-TW" sz="1350" dirty="0"/>
          </a:p>
        </p:txBody>
      </p:sp>
    </p:spTree>
    <p:extLst>
      <p:ext uri="{BB962C8B-B14F-4D97-AF65-F5344CB8AC3E}">
        <p14:creationId xmlns:p14="http://schemas.microsoft.com/office/powerpoint/2010/main" val="1636585808"/>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15"/>
                                        </p:tgtEl>
                                        <p:attrNameLst>
                                          <p:attrName>style.visibility</p:attrName>
                                        </p:attrNameLst>
                                      </p:cBhvr>
                                      <p:to>
                                        <p:strVal val="visible"/>
                                      </p:to>
                                    </p:set>
                                    <p:animEffect transition="in" filter="fade">
                                      <p:cBhvr>
                                        <p:cTn id="11" dur="250"/>
                                        <p:tgtEl>
                                          <p:spTgt spid="1315"/>
                                        </p:tgtEl>
                                      </p:cBhvr>
                                    </p:animEffect>
                                  </p:childTnLst>
                                </p:cTn>
                              </p:par>
                              <p:par>
                                <p:cTn id="12" presetID="10" presetClass="entr" presetSubtype="0" fill="hold" grpId="0" nodeType="withEffect">
                                  <p:stCondLst>
                                    <p:cond delay="350"/>
                                  </p:stCondLst>
                                  <p:childTnLst>
                                    <p:set>
                                      <p:cBhvr>
                                        <p:cTn id="13" dur="1" fill="hold">
                                          <p:stCondLst>
                                            <p:cond delay="0"/>
                                          </p:stCondLst>
                                        </p:cTn>
                                        <p:tgtEl>
                                          <p:spTgt spid="1319"/>
                                        </p:tgtEl>
                                        <p:attrNameLst>
                                          <p:attrName>style.visibility</p:attrName>
                                        </p:attrNameLst>
                                      </p:cBhvr>
                                      <p:to>
                                        <p:strVal val="visible"/>
                                      </p:to>
                                    </p:set>
                                    <p:animEffect transition="in" filter="fade">
                                      <p:cBhvr>
                                        <p:cTn id="14" dur="250"/>
                                        <p:tgtEl>
                                          <p:spTgt spid="1319"/>
                                        </p:tgtEl>
                                      </p:cBhvr>
                                    </p:animEffect>
                                  </p:childTnLst>
                                </p:cTn>
                              </p:par>
                              <p:par>
                                <p:cTn id="15" presetID="10" presetClass="entr" presetSubtype="0" fill="hold" grpId="0" nodeType="withEffect">
                                  <p:stCondLst>
                                    <p:cond delay="400"/>
                                  </p:stCondLst>
                                  <p:childTnLst>
                                    <p:set>
                                      <p:cBhvr>
                                        <p:cTn id="16" dur="1" fill="hold">
                                          <p:stCondLst>
                                            <p:cond delay="0"/>
                                          </p:stCondLst>
                                        </p:cTn>
                                        <p:tgtEl>
                                          <p:spTgt spid="1320"/>
                                        </p:tgtEl>
                                        <p:attrNameLst>
                                          <p:attrName>style.visibility</p:attrName>
                                        </p:attrNameLst>
                                      </p:cBhvr>
                                      <p:to>
                                        <p:strVal val="visible"/>
                                      </p:to>
                                    </p:set>
                                    <p:animEffect transition="in" filter="fade">
                                      <p:cBhvr>
                                        <p:cTn id="17" dur="250"/>
                                        <p:tgtEl>
                                          <p:spTgt spid="1320"/>
                                        </p:tgtEl>
                                      </p:cBhvr>
                                    </p:animEffect>
                                  </p:childTnLst>
                                </p:cTn>
                              </p:par>
                              <p:par>
                                <p:cTn id="18" presetID="10" presetClass="entr" presetSubtype="0" fill="hold" grpId="0" nodeType="withEffect">
                                  <p:stCondLst>
                                    <p:cond delay="450"/>
                                  </p:stCondLst>
                                  <p:childTnLst>
                                    <p:set>
                                      <p:cBhvr>
                                        <p:cTn id="19" dur="1" fill="hold">
                                          <p:stCondLst>
                                            <p:cond delay="0"/>
                                          </p:stCondLst>
                                        </p:cTn>
                                        <p:tgtEl>
                                          <p:spTgt spid="1321"/>
                                        </p:tgtEl>
                                        <p:attrNameLst>
                                          <p:attrName>style.visibility</p:attrName>
                                        </p:attrNameLst>
                                      </p:cBhvr>
                                      <p:to>
                                        <p:strVal val="visible"/>
                                      </p:to>
                                    </p:set>
                                    <p:animEffect transition="in" filter="fade">
                                      <p:cBhvr>
                                        <p:cTn id="20" dur="250"/>
                                        <p:tgtEl>
                                          <p:spTgt spid="1321"/>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322"/>
                                        </p:tgtEl>
                                        <p:attrNameLst>
                                          <p:attrName>style.visibility</p:attrName>
                                        </p:attrNameLst>
                                      </p:cBhvr>
                                      <p:to>
                                        <p:strVal val="visible"/>
                                      </p:to>
                                    </p:set>
                                    <p:animEffect transition="in" filter="fade">
                                      <p:cBhvr>
                                        <p:cTn id="23" dur="250"/>
                                        <p:tgtEl>
                                          <p:spTgt spid="1322"/>
                                        </p:tgtEl>
                                      </p:cBhvr>
                                    </p:animEffect>
                                  </p:childTnLst>
                                </p:cTn>
                              </p:par>
                              <p:par>
                                <p:cTn id="24" presetID="10" presetClass="entr" presetSubtype="0" fill="hold" grpId="0" nodeType="withEffect">
                                  <p:stCondLst>
                                    <p:cond delay="550"/>
                                  </p:stCondLst>
                                  <p:childTnLst>
                                    <p:set>
                                      <p:cBhvr>
                                        <p:cTn id="25" dur="1" fill="hold">
                                          <p:stCondLst>
                                            <p:cond delay="0"/>
                                          </p:stCondLst>
                                        </p:cTn>
                                        <p:tgtEl>
                                          <p:spTgt spid="1329"/>
                                        </p:tgtEl>
                                        <p:attrNameLst>
                                          <p:attrName>style.visibility</p:attrName>
                                        </p:attrNameLst>
                                      </p:cBhvr>
                                      <p:to>
                                        <p:strVal val="visible"/>
                                      </p:to>
                                    </p:set>
                                    <p:animEffect transition="in" filter="fade">
                                      <p:cBhvr>
                                        <p:cTn id="26" dur="250"/>
                                        <p:tgtEl>
                                          <p:spTgt spid="132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323"/>
                                        </p:tgtEl>
                                        <p:attrNameLst>
                                          <p:attrName>style.visibility</p:attrName>
                                        </p:attrNameLst>
                                      </p:cBhvr>
                                      <p:to>
                                        <p:strVal val="visible"/>
                                      </p:to>
                                    </p:set>
                                    <p:animEffect transition="in" filter="fade">
                                      <p:cBhvr>
                                        <p:cTn id="29" dur="250"/>
                                        <p:tgtEl>
                                          <p:spTgt spid="13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25"/>
                                        </p:tgtEl>
                                        <p:attrNameLst>
                                          <p:attrName>style.visibility</p:attrName>
                                        </p:attrNameLst>
                                      </p:cBhvr>
                                      <p:to>
                                        <p:strVal val="visible"/>
                                      </p:to>
                                    </p:set>
                                    <p:animEffect transition="in" filter="fade">
                                      <p:cBhvr>
                                        <p:cTn id="32" dur="250"/>
                                        <p:tgtEl>
                                          <p:spTgt spid="13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326"/>
                                        </p:tgtEl>
                                        <p:attrNameLst>
                                          <p:attrName>style.visibility</p:attrName>
                                        </p:attrNameLst>
                                      </p:cBhvr>
                                      <p:to>
                                        <p:strVal val="visible"/>
                                      </p:to>
                                    </p:set>
                                    <p:animEffect transition="in" filter="fade">
                                      <p:cBhvr>
                                        <p:cTn id="35" dur="250"/>
                                        <p:tgtEl>
                                          <p:spTgt spid="13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27"/>
                                        </p:tgtEl>
                                        <p:attrNameLst>
                                          <p:attrName>style.visibility</p:attrName>
                                        </p:attrNameLst>
                                      </p:cBhvr>
                                      <p:to>
                                        <p:strVal val="visible"/>
                                      </p:to>
                                    </p:set>
                                    <p:animEffect transition="in" filter="fade">
                                      <p:cBhvr>
                                        <p:cTn id="38" dur="250"/>
                                        <p:tgtEl>
                                          <p:spTgt spid="13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328"/>
                                        </p:tgtEl>
                                        <p:attrNameLst>
                                          <p:attrName>style.visibility</p:attrName>
                                        </p:attrNameLst>
                                      </p:cBhvr>
                                      <p:to>
                                        <p:strVal val="visible"/>
                                      </p:to>
                                    </p:set>
                                    <p:animEffect transition="in" filter="fade">
                                      <p:cBhvr>
                                        <p:cTn id="41" dur="250"/>
                                        <p:tgtEl>
                                          <p:spTgt spid="13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336"/>
                                        </p:tgtEl>
                                        <p:attrNameLst>
                                          <p:attrName>style.visibility</p:attrName>
                                        </p:attrNameLst>
                                      </p:cBhvr>
                                      <p:to>
                                        <p:strVal val="visible"/>
                                      </p:to>
                                    </p:set>
                                    <p:animEffect transition="in" filter="fade">
                                      <p:cBhvr>
                                        <p:cTn id="44" dur="250"/>
                                        <p:tgtEl>
                                          <p:spTgt spid="133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330"/>
                                        </p:tgtEl>
                                        <p:attrNameLst>
                                          <p:attrName>style.visibility</p:attrName>
                                        </p:attrNameLst>
                                      </p:cBhvr>
                                      <p:to>
                                        <p:strVal val="visible"/>
                                      </p:to>
                                    </p:set>
                                    <p:animEffect transition="in" filter="fade">
                                      <p:cBhvr>
                                        <p:cTn id="47" dur="250"/>
                                        <p:tgtEl>
                                          <p:spTgt spid="133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31"/>
                                        </p:tgtEl>
                                        <p:attrNameLst>
                                          <p:attrName>style.visibility</p:attrName>
                                        </p:attrNameLst>
                                      </p:cBhvr>
                                      <p:to>
                                        <p:strVal val="visible"/>
                                      </p:to>
                                    </p:set>
                                    <p:animEffect transition="in" filter="fade">
                                      <p:cBhvr>
                                        <p:cTn id="50" dur="250"/>
                                        <p:tgtEl>
                                          <p:spTgt spid="133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32"/>
                                        </p:tgtEl>
                                        <p:attrNameLst>
                                          <p:attrName>style.visibility</p:attrName>
                                        </p:attrNameLst>
                                      </p:cBhvr>
                                      <p:to>
                                        <p:strVal val="visible"/>
                                      </p:to>
                                    </p:set>
                                    <p:animEffect transition="in" filter="fade">
                                      <p:cBhvr>
                                        <p:cTn id="53" dur="250"/>
                                        <p:tgtEl>
                                          <p:spTgt spid="133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33"/>
                                        </p:tgtEl>
                                        <p:attrNameLst>
                                          <p:attrName>style.visibility</p:attrName>
                                        </p:attrNameLst>
                                      </p:cBhvr>
                                      <p:to>
                                        <p:strVal val="visible"/>
                                      </p:to>
                                    </p:set>
                                    <p:animEffect transition="in" filter="fade">
                                      <p:cBhvr>
                                        <p:cTn id="56" dur="250"/>
                                        <p:tgtEl>
                                          <p:spTgt spid="1333"/>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34"/>
                                        </p:tgtEl>
                                        <p:attrNameLst>
                                          <p:attrName>style.visibility</p:attrName>
                                        </p:attrNameLst>
                                      </p:cBhvr>
                                      <p:to>
                                        <p:strVal val="visible"/>
                                      </p:to>
                                    </p:set>
                                    <p:animEffect transition="in" filter="fade">
                                      <p:cBhvr>
                                        <p:cTn id="59" dur="250"/>
                                        <p:tgtEl>
                                          <p:spTgt spid="1334"/>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335"/>
                                        </p:tgtEl>
                                        <p:attrNameLst>
                                          <p:attrName>style.visibility</p:attrName>
                                        </p:attrNameLst>
                                      </p:cBhvr>
                                      <p:to>
                                        <p:strVal val="visible"/>
                                      </p:to>
                                    </p:set>
                                    <p:animEffect transition="in" filter="fade">
                                      <p:cBhvr>
                                        <p:cTn id="62"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7448" y="476672"/>
            <a:ext cx="8490833" cy="1218795"/>
          </a:xfrm>
        </p:spPr>
        <p:txBody>
          <a:bodyPr/>
          <a:lstStyle/>
          <a:p>
            <a:r>
              <a:rPr lang="en-US" altLang="zh-TW" sz="4400" dirty="0">
                <a:latin typeface="+mj-lt"/>
              </a:rPr>
              <a:t>Microsoft</a:t>
            </a:r>
            <a:r>
              <a:rPr lang="en-US" sz="4400" dirty="0">
                <a:latin typeface="+mj-lt"/>
              </a:rPr>
              <a:t> Azure </a:t>
            </a:r>
            <a:r>
              <a:rPr lang="zh-TW" altLang="en-US" sz="4400" dirty="0">
                <a:latin typeface="+mj-lt"/>
              </a:rPr>
              <a:t>與各項</a:t>
            </a:r>
            <a:r>
              <a:rPr lang="zh-TW" altLang="en-US" sz="4400" dirty="0"/>
              <a:t>資安標準</a:t>
            </a:r>
            <a:endParaRPr lang="en-US" sz="4400" dirty="0"/>
          </a:p>
        </p:txBody>
      </p:sp>
      <p:graphicFrame>
        <p:nvGraphicFramePr>
          <p:cNvPr id="3" name="Content Placeholder 6"/>
          <p:cNvGraphicFramePr>
            <a:graphicFrameLocks/>
          </p:cNvGraphicFramePr>
          <p:nvPr>
            <p:extLst>
              <p:ext uri="{D42A27DB-BD31-4B8C-83A1-F6EECF244321}">
                <p14:modId xmlns:p14="http://schemas.microsoft.com/office/powerpoint/2010/main" val="578644835"/>
              </p:ext>
            </p:extLst>
          </p:nvPr>
        </p:nvGraphicFramePr>
        <p:xfrm>
          <a:off x="1199457" y="1616488"/>
          <a:ext cx="7318298" cy="4635976"/>
        </p:xfrm>
        <a:graphic>
          <a:graphicData uri="http://schemas.openxmlformats.org/drawingml/2006/table">
            <a:tbl>
              <a:tblPr firstRow="1" bandRow="1">
                <a:tableStyleId>{5C22544A-7EE6-4342-B048-85BDC9FD1C3A}</a:tableStyleId>
              </a:tblPr>
              <a:tblGrid>
                <a:gridCol w="1739298"/>
                <a:gridCol w="3685927"/>
                <a:gridCol w="1893073"/>
              </a:tblGrid>
              <a:tr h="389856">
                <a:tc>
                  <a:txBody>
                    <a:bodyPr/>
                    <a:lstStyle/>
                    <a:p>
                      <a:r>
                        <a:rPr lang="zh-TW" altLang="en-US" sz="2800" dirty="0" smtClean="0">
                          <a:solidFill>
                            <a:schemeClr val="lt1">
                              <a:alpha val="99000"/>
                            </a:schemeClr>
                          </a:solidFill>
                          <a:latin typeface="Segoe UI Light" pitchFamily="34" charset="0"/>
                        </a:rPr>
                        <a:t>國際標準</a:t>
                      </a:r>
                      <a:endParaRPr lang="en-US" sz="2800" dirty="0">
                        <a:solidFill>
                          <a:schemeClr val="lt1">
                            <a:alpha val="99000"/>
                          </a:schemeClr>
                        </a:solidFill>
                        <a:latin typeface="Segoe UI Light" pitchFamily="34" charset="0"/>
                      </a:endParaRPr>
                    </a:p>
                  </a:txBody>
                  <a:tcPr marL="51462" marR="51462" marT="34299" marB="34299">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zh-TW" altLang="en-US" sz="2800" dirty="0" smtClean="0">
                          <a:solidFill>
                            <a:schemeClr val="lt1">
                              <a:alpha val="99000"/>
                            </a:schemeClr>
                          </a:solidFill>
                          <a:latin typeface="Segoe UI Light" pitchFamily="34" charset="0"/>
                        </a:rPr>
                        <a:t>描述</a:t>
                      </a:r>
                      <a:endParaRPr lang="en-US" sz="2800" dirty="0">
                        <a:solidFill>
                          <a:schemeClr val="lt1">
                            <a:alpha val="99000"/>
                          </a:schemeClr>
                        </a:solidFill>
                        <a:latin typeface="Segoe UI Light" pitchFamily="34" charset="0"/>
                      </a:endParaRPr>
                    </a:p>
                  </a:txBody>
                  <a:tcPr marL="51462" marR="51462" marT="34299" marB="34299">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r>
                        <a:rPr lang="zh-TW" altLang="en-US" sz="2800" dirty="0" smtClean="0">
                          <a:solidFill>
                            <a:schemeClr val="lt1">
                              <a:alpha val="99000"/>
                            </a:schemeClr>
                          </a:solidFill>
                          <a:latin typeface="Segoe UI Light" pitchFamily="34" charset="0"/>
                        </a:rPr>
                        <a:t>認證狀態</a:t>
                      </a:r>
                      <a:endParaRPr lang="en-US" sz="2800" dirty="0">
                        <a:solidFill>
                          <a:schemeClr val="lt1">
                            <a:alpha val="99000"/>
                          </a:schemeClr>
                        </a:solidFill>
                        <a:latin typeface="Segoe UI Light" pitchFamily="34" charset="0"/>
                      </a:endParaRPr>
                    </a:p>
                  </a:txBody>
                  <a:tcPr marL="51462" marR="51462" marT="34299" marB="34299">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r>
              <a:tr h="559150">
                <a:tc>
                  <a:txBody>
                    <a:bodyPr/>
                    <a:lstStyle/>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EU-US Safe Harbor Framework</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歐盟對美國資料隱私規範</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95000"/>
                      </a:schemeClr>
                    </a:solidFill>
                  </a:tcPr>
                </a:tc>
              </a:tr>
              <a:tr h="471908">
                <a:tc>
                  <a:txBody>
                    <a:bodyPr/>
                    <a:lstStyle/>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ISO27001</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ISO</a:t>
                      </a:r>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 國際資安標準</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core services)</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r>
              <a:tr h="397618">
                <a:tc>
                  <a:txBody>
                    <a:bodyPr/>
                    <a:lstStyle/>
                    <a:p>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PCI</a:t>
                      </a:r>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 </a:t>
                      </a:r>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DSS</a:t>
                      </a:r>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 </a:t>
                      </a:r>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Level</a:t>
                      </a:r>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 </a:t>
                      </a:r>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1</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支付卡產業資料安全標準</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p>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core services)</a:t>
                      </a:r>
                      <a:endParaRPr kumimoji="0" lang="en-US" altLang="zh-TW"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r>
              <a:tr h="472171">
                <a:tc>
                  <a:txBody>
                    <a:bodyPr/>
                    <a:lstStyle/>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SSAE 16 (SOC 1 Type 2)</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pPr marL="0" marR="0" indent="0" algn="l" defTabSz="767844" rtl="0" eaLnBrk="1" fontAlgn="auto" latinLnBrk="0" hangingPunct="1">
                        <a:lnSpc>
                          <a:spcPct val="100000"/>
                        </a:lnSpc>
                        <a:spcBef>
                          <a:spcPts val="0"/>
                        </a:spcBef>
                        <a:spcAft>
                          <a:spcPts val="0"/>
                        </a:spcAft>
                        <a:buClrTx/>
                        <a:buSzTx/>
                        <a:buFontTx/>
                        <a:buNone/>
                        <a:tabLst/>
                        <a:defRPr/>
                      </a:pPr>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美國會計與稽核規範，取代</a:t>
                      </a:r>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 SAS 70 Type 2</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 </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core services)</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r>
              <a:tr h="559150">
                <a:tc>
                  <a:txBody>
                    <a:bodyPr/>
                    <a:lstStyle/>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FISMA / </a:t>
                      </a:r>
                      <a:r>
                        <a:rPr kumimoji="0" lang="en-US" sz="1600" b="0" i="0" u="none" strike="noStrike" kern="1200" cap="none" spc="0" normalizeH="0" baseline="0" dirty="0" err="1" smtClean="0">
                          <a:ln>
                            <a:noFill/>
                          </a:ln>
                          <a:solidFill>
                            <a:schemeClr val="bg2">
                              <a:alpha val="99000"/>
                            </a:schemeClr>
                          </a:solidFill>
                          <a:effectLst/>
                          <a:uLnTx/>
                          <a:uFillTx/>
                          <a:latin typeface="+mn-lt"/>
                          <a:ea typeface="+mn-ea"/>
                          <a:cs typeface="+mn-cs"/>
                        </a:rPr>
                        <a:t>FedRAMP</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美國聯邦資訊安全管理法案 </a:t>
                      </a:r>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Federal Information Security Management Act (FISMA)</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 </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p>
                      <a:r>
                        <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rPr>
                        <a:t>(</a:t>
                      </a:r>
                      <a:r>
                        <a:rPr kumimoji="0" lang="en-US" altLang="zh-TW" sz="1600" b="0" i="0" u="none" strike="noStrike" kern="1200" cap="none" spc="0" normalizeH="0" baseline="0" smtClean="0">
                          <a:ln>
                            <a:noFill/>
                          </a:ln>
                          <a:solidFill>
                            <a:schemeClr val="bg2">
                              <a:alpha val="99000"/>
                            </a:schemeClr>
                          </a:solidFill>
                          <a:effectLst/>
                          <a:uLnTx/>
                          <a:uFillTx/>
                          <a:latin typeface="+mn-lt"/>
                          <a:ea typeface="+mn-ea"/>
                          <a:cs typeface="+mn-cs"/>
                        </a:rPr>
                        <a:t>GFS Datacenter)</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r>
              <a:tr h="472171">
                <a:tc>
                  <a:txBody>
                    <a:bodyPr/>
                    <a:lstStyle/>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EU Model Clauses</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處理歐盟資訊傳遞至美國相關規範</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 </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core services)</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r>
              <a:tr h="472171">
                <a:tc>
                  <a:txBody>
                    <a:bodyPr/>
                    <a:lstStyle/>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HIPAA BAA</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美國醫療資訊隱私保護規範</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r>
                        <a:rPr kumimoji="0" lang="zh-TW" altLang="en-US" sz="1600" b="0" i="0" u="none" strike="noStrike" kern="1200" cap="none" spc="0" normalizeH="0" baseline="0" dirty="0" smtClean="0">
                          <a:ln>
                            <a:noFill/>
                          </a:ln>
                          <a:solidFill>
                            <a:schemeClr val="bg2">
                              <a:alpha val="99000"/>
                            </a:schemeClr>
                          </a:solidFill>
                          <a:effectLst/>
                          <a:uLnTx/>
                          <a:uFillTx/>
                          <a:latin typeface="+mn-lt"/>
                          <a:ea typeface="+mn-ea"/>
                          <a:cs typeface="+mn-cs"/>
                        </a:rPr>
                        <a:t>完成 </a:t>
                      </a:r>
                      <a:endParaRPr kumimoji="0" lang="en-US" altLang="zh-TW" sz="1600" b="0" i="0" u="none" strike="noStrike" kern="1200" cap="none" spc="0" normalizeH="0" baseline="0" dirty="0" smtClean="0">
                        <a:ln>
                          <a:noFill/>
                        </a:ln>
                        <a:solidFill>
                          <a:schemeClr val="bg2">
                            <a:alpha val="99000"/>
                          </a:schemeClr>
                        </a:solidFill>
                        <a:effectLst/>
                        <a:uLnTx/>
                        <a:uFillTx/>
                        <a:latin typeface="+mn-lt"/>
                        <a:ea typeface="+mn-ea"/>
                        <a:cs typeface="+mn-cs"/>
                      </a:endParaRPr>
                    </a:p>
                    <a:p>
                      <a:r>
                        <a:rPr kumimoji="0" lang="en-US" sz="1600" b="0" i="0" u="none" strike="noStrike" kern="1200" cap="none" spc="0" normalizeH="0" baseline="0" dirty="0" smtClean="0">
                          <a:ln>
                            <a:noFill/>
                          </a:ln>
                          <a:solidFill>
                            <a:schemeClr val="bg2">
                              <a:alpha val="99000"/>
                            </a:schemeClr>
                          </a:solidFill>
                          <a:effectLst/>
                          <a:uLnTx/>
                          <a:uFillTx/>
                          <a:latin typeface="+mn-lt"/>
                          <a:ea typeface="+mn-ea"/>
                          <a:cs typeface="+mn-cs"/>
                        </a:rPr>
                        <a:t>(core services)</a:t>
                      </a:r>
                      <a:endParaRPr kumimoji="0" lang="en-US" sz="1600" b="0" i="0" u="none" strike="noStrike" kern="1200" cap="none" spc="0" normalizeH="0" baseline="0" dirty="0">
                        <a:ln>
                          <a:noFill/>
                        </a:ln>
                        <a:solidFill>
                          <a:schemeClr val="bg2">
                            <a:alpha val="99000"/>
                          </a:schemeClr>
                        </a:solidFill>
                        <a:effectLst/>
                        <a:uLnTx/>
                        <a:uFillTx/>
                        <a:latin typeface="+mn-lt"/>
                        <a:ea typeface="+mn-ea"/>
                        <a:cs typeface="+mn-cs"/>
                      </a:endParaRPr>
                    </a:p>
                  </a:txBody>
                  <a:tcPr marL="51462" marR="51462" marT="34299" marB="34299">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r>
            </a:tbl>
          </a:graphicData>
        </a:graphic>
      </p:graphicFrame>
      <p:sp>
        <p:nvSpPr>
          <p:cNvPr id="7" name="TextBox 6"/>
          <p:cNvSpPr txBox="1"/>
          <p:nvPr/>
        </p:nvSpPr>
        <p:spPr>
          <a:xfrm>
            <a:off x="2792181" y="5410680"/>
            <a:ext cx="4316935" cy="126958"/>
          </a:xfrm>
          <a:prstGeom prst="rect">
            <a:avLst/>
          </a:prstGeom>
          <a:noFill/>
        </p:spPr>
        <p:txBody>
          <a:bodyPr wrap="square" lIns="0" tIns="0" rIns="0" bIns="0" rtlCol="0">
            <a:spAutoFit/>
          </a:bodyPr>
          <a:lstStyle/>
          <a:p>
            <a:r>
              <a:rPr lang="en-US" sz="825" dirty="0">
                <a:gradFill>
                  <a:gsLst>
                    <a:gs pos="0">
                      <a:srgbClr val="FFFFFF"/>
                    </a:gs>
                    <a:gs pos="86000">
                      <a:srgbClr val="FFFFFF"/>
                    </a:gs>
                  </a:gsLst>
                  <a:lin ang="5400000" scaled="0"/>
                </a:gradFill>
              </a:rPr>
              <a:t>Core Services: Compute, Storage, Virtual Network, Virtual Machine</a:t>
            </a:r>
          </a:p>
        </p:txBody>
      </p:sp>
      <p:sp>
        <p:nvSpPr>
          <p:cNvPr id="9" name="Freeform 8"/>
          <p:cNvSpPr/>
          <p:nvPr/>
        </p:nvSpPr>
        <p:spPr>
          <a:xfrm>
            <a:off x="9048328" y="3429000"/>
            <a:ext cx="1857499" cy="1890256"/>
          </a:xfrm>
          <a:custGeom>
            <a:avLst/>
            <a:gdLst>
              <a:gd name="connsiteX0" fmla="*/ 0 w 1929372"/>
              <a:gd name="connsiteY0" fmla="*/ 812292 h 1624584"/>
              <a:gd name="connsiteX1" fmla="*/ 964686 w 1929372"/>
              <a:gd name="connsiteY1" fmla="*/ 0 h 1624584"/>
              <a:gd name="connsiteX2" fmla="*/ 1929372 w 1929372"/>
              <a:gd name="connsiteY2" fmla="*/ 812292 h 1624584"/>
              <a:gd name="connsiteX3" fmla="*/ 964686 w 1929372"/>
              <a:gd name="connsiteY3" fmla="*/ 1624584 h 1624584"/>
              <a:gd name="connsiteX4" fmla="*/ 0 w 1929372"/>
              <a:gd name="connsiteY4" fmla="*/ 812292 h 162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372" h="1624584">
                <a:moveTo>
                  <a:pt x="0" y="812292"/>
                </a:moveTo>
                <a:cubicBezTo>
                  <a:pt x="0" y="363676"/>
                  <a:pt x="431905" y="0"/>
                  <a:pt x="964686" y="0"/>
                </a:cubicBezTo>
                <a:cubicBezTo>
                  <a:pt x="1497467" y="0"/>
                  <a:pt x="1929372" y="363676"/>
                  <a:pt x="1929372" y="812292"/>
                </a:cubicBezTo>
                <a:cubicBezTo>
                  <a:pt x="1929372" y="1260908"/>
                  <a:pt x="1497467" y="1624584"/>
                  <a:pt x="964686" y="1624584"/>
                </a:cubicBezTo>
                <a:cubicBezTo>
                  <a:pt x="431905" y="1624584"/>
                  <a:pt x="0" y="1260908"/>
                  <a:pt x="0" y="812292"/>
                </a:cubicBezTo>
                <a:close/>
              </a:path>
            </a:pathLst>
          </a:custGeom>
          <a:solidFill>
            <a:schemeClr val="accent1">
              <a:alpha val="50000"/>
            </a:schemeClr>
          </a:solidFill>
          <a:ln>
            <a:noFill/>
          </a:ln>
        </p:spPr>
        <p:style>
          <a:lnRef idx="2">
            <a:schemeClr val="lt1">
              <a:hueOff val="0"/>
              <a:satOff val="0"/>
              <a:lumOff val="0"/>
              <a:alphaOff val="0"/>
            </a:schemeClr>
          </a:lnRef>
          <a:fillRef idx="1">
            <a:schemeClr val="accent5">
              <a:alpha val="50000"/>
              <a:hueOff val="-12397374"/>
              <a:satOff val="18550"/>
              <a:lumOff val="-20783"/>
              <a:alphaOff val="0"/>
            </a:schemeClr>
          </a:fillRef>
          <a:effectRef idx="0">
            <a:schemeClr val="accent5">
              <a:alpha val="50000"/>
              <a:hueOff val="-12397374"/>
              <a:satOff val="18550"/>
              <a:lumOff val="-20783"/>
              <a:alphaOff val="0"/>
            </a:schemeClr>
          </a:effectRef>
          <a:fontRef idx="minor">
            <a:schemeClr val="tx1"/>
          </a:fontRef>
        </p:style>
        <p:txBody>
          <a:bodyPr spcFirstLastPara="0" vert="horz" wrap="square" lIns="77937" tIns="98438" rIns="336130" bIns="0" numCol="1" spcCol="889" anchor="ctr" anchorCtr="0">
            <a:noAutofit/>
          </a:bodyPr>
          <a:lstStyle/>
          <a:p>
            <a:pPr defTabSz="672375">
              <a:lnSpc>
                <a:spcPct val="90000"/>
              </a:lnSpc>
              <a:spcBef>
                <a:spcPct val="0"/>
              </a:spcBef>
            </a:pPr>
            <a:r>
              <a:rPr lang="en-US" sz="2251" dirty="0">
                <a:solidFill>
                  <a:srgbClr val="FFFFFF"/>
                </a:solidFill>
              </a:rPr>
              <a:t>  FISMA</a:t>
            </a:r>
          </a:p>
        </p:txBody>
      </p:sp>
      <p:sp>
        <p:nvSpPr>
          <p:cNvPr id="10" name="Freeform 9"/>
          <p:cNvSpPr/>
          <p:nvPr/>
        </p:nvSpPr>
        <p:spPr>
          <a:xfrm>
            <a:off x="9737596" y="3924536"/>
            <a:ext cx="1250818" cy="1291576"/>
          </a:xfrm>
          <a:custGeom>
            <a:avLst/>
            <a:gdLst>
              <a:gd name="connsiteX0" fmla="*/ 0 w 2615044"/>
              <a:gd name="connsiteY0" fmla="*/ 1147111 h 2294221"/>
              <a:gd name="connsiteX1" fmla="*/ 1307522 w 2615044"/>
              <a:gd name="connsiteY1" fmla="*/ 0 h 2294221"/>
              <a:gd name="connsiteX2" fmla="*/ 2615044 w 2615044"/>
              <a:gd name="connsiteY2" fmla="*/ 1147111 h 2294221"/>
              <a:gd name="connsiteX3" fmla="*/ 1307522 w 2615044"/>
              <a:gd name="connsiteY3" fmla="*/ 2294222 h 2294221"/>
              <a:gd name="connsiteX4" fmla="*/ 0 w 2615044"/>
              <a:gd name="connsiteY4" fmla="*/ 1147111 h 2294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044" h="2294221">
                <a:moveTo>
                  <a:pt x="0" y="1147111"/>
                </a:moveTo>
                <a:cubicBezTo>
                  <a:pt x="0" y="513579"/>
                  <a:pt x="585398" y="0"/>
                  <a:pt x="1307522" y="0"/>
                </a:cubicBezTo>
                <a:cubicBezTo>
                  <a:pt x="2029646" y="0"/>
                  <a:pt x="2615044" y="513579"/>
                  <a:pt x="2615044" y="1147111"/>
                </a:cubicBezTo>
                <a:cubicBezTo>
                  <a:pt x="2615044" y="1780643"/>
                  <a:pt x="2029646" y="2294222"/>
                  <a:pt x="1307522" y="2294222"/>
                </a:cubicBezTo>
                <a:cubicBezTo>
                  <a:pt x="585398" y="2294222"/>
                  <a:pt x="0" y="1780643"/>
                  <a:pt x="0" y="1147111"/>
                </a:cubicBezTo>
                <a:close/>
              </a:path>
            </a:pathLst>
          </a:custGeom>
          <a:solidFill>
            <a:schemeClr val="accent5">
              <a:hueOff val="0"/>
              <a:satOff val="0"/>
              <a:lumOff val="0"/>
              <a:alpha val="70000"/>
            </a:schemeClr>
          </a:solidFill>
          <a:ln>
            <a:noFill/>
          </a:ln>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spcFirstLastPara="0" vert="horz" wrap="square" lIns="158453" tIns="162182" rIns="158453" bIns="660312" numCol="1" spcCol="889" anchor="ctr" anchorCtr="0">
            <a:noAutofit/>
          </a:bodyPr>
          <a:lstStyle/>
          <a:p>
            <a:pPr algn="ctr" defTabSz="1120626">
              <a:lnSpc>
                <a:spcPct val="90000"/>
              </a:lnSpc>
              <a:spcBef>
                <a:spcPct val="0"/>
              </a:spcBef>
              <a:spcAft>
                <a:spcPct val="35000"/>
              </a:spcAft>
            </a:pPr>
            <a:r>
              <a:rPr lang="en-US" sz="2551" dirty="0">
                <a:solidFill>
                  <a:srgbClr val="FFFFFF"/>
                </a:solidFill>
              </a:rPr>
              <a:t>ISO</a:t>
            </a:r>
          </a:p>
        </p:txBody>
      </p:sp>
      <p:sp>
        <p:nvSpPr>
          <p:cNvPr id="11" name="Freeform 10"/>
          <p:cNvSpPr/>
          <p:nvPr/>
        </p:nvSpPr>
        <p:spPr>
          <a:xfrm>
            <a:off x="10203797" y="5113140"/>
            <a:ext cx="421883" cy="412233"/>
          </a:xfrm>
          <a:custGeom>
            <a:avLst/>
            <a:gdLst>
              <a:gd name="connsiteX0" fmla="*/ 0 w 672659"/>
              <a:gd name="connsiteY0" fmla="*/ 366124 h 732248"/>
              <a:gd name="connsiteX1" fmla="*/ 336330 w 672659"/>
              <a:gd name="connsiteY1" fmla="*/ 0 h 732248"/>
              <a:gd name="connsiteX2" fmla="*/ 672660 w 672659"/>
              <a:gd name="connsiteY2" fmla="*/ 366124 h 732248"/>
              <a:gd name="connsiteX3" fmla="*/ 336330 w 672659"/>
              <a:gd name="connsiteY3" fmla="*/ 732248 h 732248"/>
              <a:gd name="connsiteX4" fmla="*/ 0 w 672659"/>
              <a:gd name="connsiteY4" fmla="*/ 366124 h 732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659" h="732248">
                <a:moveTo>
                  <a:pt x="0" y="366124"/>
                </a:moveTo>
                <a:cubicBezTo>
                  <a:pt x="0" y="163919"/>
                  <a:pt x="150580" y="0"/>
                  <a:pt x="336330" y="0"/>
                </a:cubicBezTo>
                <a:cubicBezTo>
                  <a:pt x="522080" y="0"/>
                  <a:pt x="672660" y="163919"/>
                  <a:pt x="672660" y="366124"/>
                </a:cubicBezTo>
                <a:cubicBezTo>
                  <a:pt x="672660" y="568329"/>
                  <a:pt x="522080" y="732248"/>
                  <a:pt x="336330" y="732248"/>
                </a:cubicBezTo>
                <a:cubicBezTo>
                  <a:pt x="150580" y="732248"/>
                  <a:pt x="0" y="568329"/>
                  <a:pt x="0" y="366124"/>
                </a:cubicBezTo>
                <a:close/>
              </a:path>
            </a:pathLst>
          </a:custGeom>
          <a:solidFill>
            <a:schemeClr val="accent3">
              <a:alpha val="50000"/>
            </a:schemeClr>
          </a:solidFill>
          <a:ln>
            <a:noFill/>
          </a:ln>
        </p:spPr>
        <p:style>
          <a:lnRef idx="2">
            <a:schemeClr val="lt1">
              <a:hueOff val="0"/>
              <a:satOff val="0"/>
              <a:lumOff val="0"/>
              <a:alphaOff val="0"/>
            </a:schemeClr>
          </a:lnRef>
          <a:fillRef idx="1">
            <a:schemeClr val="accent5">
              <a:alpha val="50000"/>
              <a:hueOff val="-4132458"/>
              <a:satOff val="6183"/>
              <a:lumOff val="-6928"/>
              <a:alphaOff val="0"/>
            </a:schemeClr>
          </a:fillRef>
          <a:effectRef idx="0">
            <a:schemeClr val="accent5">
              <a:alpha val="50000"/>
              <a:hueOff val="-4132458"/>
              <a:satOff val="6183"/>
              <a:lumOff val="-6928"/>
              <a:alphaOff val="0"/>
            </a:schemeClr>
          </a:effectRef>
          <a:fontRef idx="minor">
            <a:schemeClr val="tx1"/>
          </a:fontRef>
        </p:style>
        <p:txBody>
          <a:bodyPr spcFirstLastPara="0" vert="horz" wrap="square" lIns="0" tIns="44369" rIns="27172" bIns="44369" numCol="1" spcCol="889" anchor="ctr" anchorCtr="0">
            <a:noAutofit/>
          </a:bodyPr>
          <a:lstStyle/>
          <a:p>
            <a:pPr algn="ctr" defTabSz="294164">
              <a:lnSpc>
                <a:spcPct val="90000"/>
              </a:lnSpc>
              <a:spcBef>
                <a:spcPct val="0"/>
              </a:spcBef>
              <a:spcAft>
                <a:spcPct val="35000"/>
              </a:spcAft>
            </a:pPr>
            <a:r>
              <a:rPr lang="en-US" sz="825" dirty="0">
                <a:solidFill>
                  <a:srgbClr val="FFFFFF"/>
                </a:solidFill>
              </a:rPr>
              <a:t>HIPAA</a:t>
            </a:r>
          </a:p>
        </p:txBody>
      </p:sp>
      <p:sp>
        <p:nvSpPr>
          <p:cNvPr id="12" name="Freeform 11"/>
          <p:cNvSpPr/>
          <p:nvPr/>
        </p:nvSpPr>
        <p:spPr>
          <a:xfrm rot="469508">
            <a:off x="10281354" y="4361516"/>
            <a:ext cx="649983" cy="996274"/>
          </a:xfrm>
          <a:custGeom>
            <a:avLst/>
            <a:gdLst>
              <a:gd name="connsiteX0" fmla="*/ 0 w 1196392"/>
              <a:gd name="connsiteY0" fmla="*/ 439060 h 878120"/>
              <a:gd name="connsiteX1" fmla="*/ 598196 w 1196392"/>
              <a:gd name="connsiteY1" fmla="*/ 0 h 878120"/>
              <a:gd name="connsiteX2" fmla="*/ 1196392 w 1196392"/>
              <a:gd name="connsiteY2" fmla="*/ 439060 h 878120"/>
              <a:gd name="connsiteX3" fmla="*/ 598196 w 1196392"/>
              <a:gd name="connsiteY3" fmla="*/ 878120 h 878120"/>
              <a:gd name="connsiteX4" fmla="*/ 0 w 1196392"/>
              <a:gd name="connsiteY4" fmla="*/ 439060 h 878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6392" h="878120">
                <a:moveTo>
                  <a:pt x="0" y="439060"/>
                </a:moveTo>
                <a:cubicBezTo>
                  <a:pt x="0" y="196574"/>
                  <a:pt x="267821" y="0"/>
                  <a:pt x="598196" y="0"/>
                </a:cubicBezTo>
                <a:cubicBezTo>
                  <a:pt x="928571" y="0"/>
                  <a:pt x="1196392" y="196574"/>
                  <a:pt x="1196392" y="439060"/>
                </a:cubicBezTo>
                <a:cubicBezTo>
                  <a:pt x="1196392" y="681546"/>
                  <a:pt x="928571" y="878120"/>
                  <a:pt x="598196" y="878120"/>
                </a:cubicBezTo>
                <a:cubicBezTo>
                  <a:pt x="267821" y="878120"/>
                  <a:pt x="0" y="681546"/>
                  <a:pt x="0" y="439060"/>
                </a:cubicBezTo>
                <a:close/>
              </a:path>
            </a:pathLst>
          </a:custGeom>
          <a:solidFill>
            <a:schemeClr val="accent2">
              <a:alpha val="50000"/>
            </a:schemeClr>
          </a:solidFill>
          <a:ln>
            <a:noFill/>
          </a:ln>
        </p:spPr>
        <p:style>
          <a:lnRef idx="2">
            <a:schemeClr val="lt1">
              <a:hueOff val="0"/>
              <a:satOff val="0"/>
              <a:lumOff val="0"/>
              <a:alphaOff val="0"/>
            </a:schemeClr>
          </a:lnRef>
          <a:fillRef idx="1">
            <a:schemeClr val="accent5">
              <a:alpha val="50000"/>
              <a:hueOff val="-8264916"/>
              <a:satOff val="12367"/>
              <a:lumOff val="-13855"/>
              <a:alphaOff val="0"/>
            </a:schemeClr>
          </a:fillRef>
          <a:effectRef idx="0">
            <a:schemeClr val="accent5">
              <a:alpha val="50000"/>
              <a:hueOff val="-8264916"/>
              <a:satOff val="12367"/>
              <a:lumOff val="-13855"/>
              <a:alphaOff val="0"/>
            </a:schemeClr>
          </a:effectRef>
          <a:fontRef idx="minor">
            <a:schemeClr val="tx1"/>
          </a:fontRef>
        </p:style>
        <p:txBody>
          <a:bodyPr spcFirstLastPara="0" vert="horz" wrap="square" lIns="72493" tIns="168065" rIns="72493" bIns="62076" numCol="1" spcCol="889" anchor="t" anchorCtr="0">
            <a:noAutofit/>
          </a:bodyPr>
          <a:lstStyle/>
          <a:p>
            <a:pPr algn="ctr" defTabSz="560313">
              <a:lnSpc>
                <a:spcPct val="90000"/>
              </a:lnSpc>
              <a:spcBef>
                <a:spcPct val="0"/>
              </a:spcBef>
              <a:spcAft>
                <a:spcPct val="35000"/>
              </a:spcAft>
            </a:pPr>
            <a:r>
              <a:rPr lang="en-US" sz="1275" dirty="0">
                <a:solidFill>
                  <a:srgbClr val="FFFFFF"/>
                </a:solidFill>
              </a:rPr>
              <a:t>SSAE</a:t>
            </a:r>
          </a:p>
        </p:txBody>
      </p:sp>
    </p:spTree>
    <p:extLst>
      <p:ext uri="{BB962C8B-B14F-4D97-AF65-F5344CB8AC3E}">
        <p14:creationId xmlns:p14="http://schemas.microsoft.com/office/powerpoint/2010/main" val="156461967"/>
      </p:ext>
    </p:extLst>
  </p:cSld>
  <p:clrMapOvr>
    <a:masterClrMapping/>
  </p:clrMapOvr>
  <p:transition>
    <p:strips dir="rd"/>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844521" y="2710035"/>
            <a:ext cx="5500597" cy="3260621"/>
            <a:chOff x="4420923" y="2470374"/>
            <a:chExt cx="7332220" cy="4347494"/>
          </a:xfrm>
        </p:grpSpPr>
        <p:pic>
          <p:nvPicPr>
            <p:cNvPr id="1027" name="Picture 3" descr="C:\Users\Jonahs\Dropbox\Critical Resources\Helveticons Basic\Png\512x512\Cloud 512x512.png"/>
            <p:cNvPicPr>
              <a:picLocks noChangeAspect="1" noChangeArrowheads="1"/>
            </p:cNvPicPr>
            <p:nvPr/>
          </p:nvPicPr>
          <p:blipFill>
            <a:blip r:embed="rId3" cstate="email">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405649" y="2470374"/>
              <a:ext cx="4347494" cy="434749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C:\Users\Jonahs\Dropbox\Critical Resources\Helveticons Basic\Png\512x512\Cloud 512x512.png"/>
            <p:cNvPicPr>
              <a:picLocks noChangeAspect="1" noChangeArrowheads="1"/>
            </p:cNvPicPr>
            <p:nvPr/>
          </p:nvPicPr>
          <p:blipFill>
            <a:blip r:embed="rId5" cstate="email">
              <a:duotone>
                <a:prstClr val="black"/>
                <a:schemeClr val="bg1">
                  <a:lumMod val="50000"/>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629985" y="3595997"/>
              <a:ext cx="2854135" cy="285413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C:\Users\Jonahs\Dropbox\Critical Resources\Helveticons Basic\Png\512x512\Cloud 512x512.png"/>
            <p:cNvPicPr>
              <a:picLocks noChangeAspect="1" noChangeArrowheads="1"/>
            </p:cNvPicPr>
            <p:nvPr/>
          </p:nvPicPr>
          <p:blipFill>
            <a:blip r:embed="rId6" cstate="email">
              <a:duotone>
                <a:prstClr val="black"/>
                <a:schemeClr val="bg1">
                  <a:lumMod val="50000"/>
                  <a:tint val="45000"/>
                  <a:satMod val="400000"/>
                </a:schemeClr>
              </a:duotone>
              <a:extLst>
                <a:ext uri="{BEBA8EAE-BF5A-486C-A8C5-ECC9F3942E4B}">
                  <a14:imgProps xmlns:a14="http://schemas.microsoft.com/office/drawing/2010/main">
                    <a14:imgLayer r:embed="rId7">
                      <a14:imgEffect>
                        <a14:colorTemperature colorTemp="11500"/>
                      </a14:imgEffect>
                      <a14:imgEffect>
                        <a14:saturation sat="135000"/>
                      </a14:imgEffect>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4420923" y="4403409"/>
              <a:ext cx="1803636" cy="1803636"/>
            </a:xfrm>
            <a:prstGeom prst="rect">
              <a:avLst/>
            </a:prstGeom>
            <a:noFill/>
            <a:extLst>
              <a:ext uri="{909E8E84-426E-40DD-AFC4-6F175D3DCCD1}">
                <a14:hiddenFill xmlns:a14="http://schemas.microsoft.com/office/drawing/2010/main">
                  <a:solidFill>
                    <a:srgbClr val="FFFFFF"/>
                  </a:solidFill>
                </a14:hiddenFill>
              </a:ext>
            </a:extLst>
          </p:spPr>
        </p:pic>
      </p:grpSp>
      <p:sp>
        <p:nvSpPr>
          <p:cNvPr id="124" name="Rectangle 123"/>
          <p:cNvSpPr/>
          <p:nvPr/>
        </p:nvSpPr>
        <p:spPr>
          <a:xfrm>
            <a:off x="2800004" y="1910822"/>
            <a:ext cx="1213734" cy="48006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150" fontAlgn="base">
              <a:spcAft>
                <a:spcPct val="0"/>
              </a:spcAft>
            </a:pPr>
            <a:r>
              <a:rPr lang="zh-TW" altLang="en-US" sz="1500" dirty="0">
                <a:gradFill>
                  <a:gsLst>
                    <a:gs pos="0">
                      <a:schemeClr val="tx1"/>
                    </a:gs>
                    <a:gs pos="100000">
                      <a:schemeClr val="tx1"/>
                    </a:gs>
                  </a:gsLst>
                  <a:lin ang="5400000" scaled="0"/>
                </a:gradFill>
                <a:ea typeface="Kozuka Gothic Pro R" pitchFamily="34" charset="-128"/>
              </a:rPr>
              <a:t>自我持有</a:t>
            </a:r>
            <a:endParaRPr lang="en-US" altLang="zh-TW" sz="1500" dirty="0">
              <a:gradFill>
                <a:gsLst>
                  <a:gs pos="0">
                    <a:schemeClr val="tx1"/>
                  </a:gs>
                  <a:gs pos="100000">
                    <a:schemeClr val="tx1"/>
                  </a:gs>
                </a:gsLst>
                <a:lin ang="5400000" scaled="0"/>
              </a:gradFill>
              <a:ea typeface="Kozuka Gothic Pro R" pitchFamily="34" charset="-128"/>
            </a:endParaRPr>
          </a:p>
          <a:p>
            <a:pPr marL="0" lvl="1" algn="ctr" defTabSz="914150" fontAlgn="base">
              <a:spcAft>
                <a:spcPct val="0"/>
              </a:spcAft>
            </a:pPr>
            <a:r>
              <a:rPr lang="zh-TW" altLang="en-US" sz="1500" dirty="0">
                <a:gradFill>
                  <a:gsLst>
                    <a:gs pos="0">
                      <a:schemeClr val="tx1"/>
                    </a:gs>
                    <a:gs pos="100000">
                      <a:schemeClr val="tx1"/>
                    </a:gs>
                  </a:gsLst>
                  <a:lin ang="5400000" scaled="0"/>
                </a:gradFill>
                <a:ea typeface="Kozuka Gothic Pro R" pitchFamily="34" charset="-128"/>
              </a:rPr>
              <a:t>資料中心</a:t>
            </a:r>
            <a:endParaRPr lang="en-US" sz="1500" dirty="0">
              <a:gradFill>
                <a:gsLst>
                  <a:gs pos="0">
                    <a:schemeClr val="tx1"/>
                  </a:gs>
                  <a:gs pos="100000">
                    <a:schemeClr val="tx1"/>
                  </a:gs>
                </a:gsLst>
                <a:lin ang="5400000" scaled="0"/>
              </a:gradFill>
              <a:ea typeface="Kozuka Gothic Pro R" pitchFamily="34" charset="-128"/>
            </a:endParaRPr>
          </a:p>
        </p:txBody>
      </p:sp>
      <p:sp>
        <p:nvSpPr>
          <p:cNvPr id="128" name="Rectangle 127"/>
          <p:cNvSpPr/>
          <p:nvPr/>
        </p:nvSpPr>
        <p:spPr>
          <a:xfrm>
            <a:off x="2784742" y="4164145"/>
            <a:ext cx="1229001" cy="285750"/>
          </a:xfrm>
          <a:prstGeom prst="rect">
            <a:avLst/>
          </a:prstGeom>
          <a:solidFill>
            <a:schemeClr val="bg2"/>
          </a:solidFill>
          <a:ln w="9525" cap="flat" cmpd="sng" algn="ctr">
            <a:noFill/>
            <a:prstDash val="solid"/>
          </a:ln>
          <a:effectLst/>
        </p:spPr>
        <p:txBody>
          <a:bodyPr lIns="68580" tIns="34291" rIns="6858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29" name="Rectangle 128"/>
          <p:cNvSpPr/>
          <p:nvPr/>
        </p:nvSpPr>
        <p:spPr>
          <a:xfrm>
            <a:off x="2784742" y="3823032"/>
            <a:ext cx="1229001" cy="285750"/>
          </a:xfrm>
          <a:prstGeom prst="rect">
            <a:avLst/>
          </a:prstGeom>
          <a:solidFill>
            <a:schemeClr val="bg2"/>
          </a:solidFill>
          <a:ln w="9525" cap="flat" cmpd="sng" algn="ctr">
            <a:noFill/>
            <a:prstDash val="solid"/>
          </a:ln>
          <a:effectLst/>
        </p:spPr>
        <p:txBody>
          <a:bodyPr lIns="68580" tIns="34291" rIns="6858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O/S</a:t>
            </a:r>
          </a:p>
        </p:txBody>
      </p:sp>
      <p:sp>
        <p:nvSpPr>
          <p:cNvPr id="130" name="Rectangle 129"/>
          <p:cNvSpPr/>
          <p:nvPr/>
        </p:nvSpPr>
        <p:spPr>
          <a:xfrm>
            <a:off x="2784742" y="4505258"/>
            <a:ext cx="1229001" cy="285750"/>
          </a:xfrm>
          <a:prstGeom prst="rect">
            <a:avLst/>
          </a:prstGeom>
          <a:solidFill>
            <a:schemeClr val="bg2"/>
          </a:solidFill>
          <a:ln w="9525" cap="flat" cmpd="sng" algn="ctr">
            <a:noFill/>
            <a:prstDash val="solid"/>
          </a:ln>
          <a:effectLst/>
        </p:spPr>
        <p:txBody>
          <a:bodyPr lIns="68580" tIns="34291" rIns="6858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133" name="Rectangle 132"/>
          <p:cNvSpPr/>
          <p:nvPr/>
        </p:nvSpPr>
        <p:spPr>
          <a:xfrm>
            <a:off x="2784742" y="3481916"/>
            <a:ext cx="1229001" cy="285750"/>
          </a:xfrm>
          <a:prstGeom prst="rect">
            <a:avLst/>
          </a:prstGeom>
          <a:solidFill>
            <a:schemeClr val="bg2"/>
          </a:solidFill>
          <a:ln w="9525" cap="flat" cmpd="sng" algn="ctr">
            <a:noFill/>
            <a:prstDash val="solid"/>
          </a:ln>
          <a:effectLst/>
        </p:spPr>
        <p:txBody>
          <a:bodyPr lIns="0" tIns="34291" rIns="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Network</a:t>
            </a:r>
          </a:p>
        </p:txBody>
      </p:sp>
      <p:sp>
        <p:nvSpPr>
          <p:cNvPr id="134" name="Rectangle 133"/>
          <p:cNvSpPr/>
          <p:nvPr/>
        </p:nvSpPr>
        <p:spPr>
          <a:xfrm>
            <a:off x="2784742" y="2786948"/>
            <a:ext cx="1229001" cy="285750"/>
          </a:xfrm>
          <a:prstGeom prst="rect">
            <a:avLst/>
          </a:prstGeom>
          <a:solidFill>
            <a:schemeClr val="bg2"/>
          </a:solidFill>
          <a:ln w="9525" cap="flat" cmpd="sng" algn="ctr">
            <a:noFill/>
            <a:prstDash val="solid"/>
          </a:ln>
          <a:effectLst/>
        </p:spPr>
        <p:txBody>
          <a:bodyPr lIns="68580" tIns="34291" rIns="6858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135" name="Rectangle 134"/>
          <p:cNvSpPr/>
          <p:nvPr/>
        </p:nvSpPr>
        <p:spPr>
          <a:xfrm>
            <a:off x="2784742" y="2445834"/>
            <a:ext cx="1229001" cy="285750"/>
          </a:xfrm>
          <a:prstGeom prst="rect">
            <a:avLst/>
          </a:prstGeom>
          <a:solidFill>
            <a:schemeClr val="bg2"/>
          </a:solidFill>
          <a:ln w="9525" cap="flat" cmpd="sng" algn="ctr">
            <a:noFill/>
            <a:prstDash val="solid"/>
          </a:ln>
          <a:effectLst/>
        </p:spPr>
        <p:txBody>
          <a:bodyPr lIns="68580" tIns="34291" rIns="6858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36" name="Rectangle 135"/>
          <p:cNvSpPr/>
          <p:nvPr/>
        </p:nvSpPr>
        <p:spPr>
          <a:xfrm>
            <a:off x="2784741" y="3140802"/>
            <a:ext cx="1229001" cy="285750"/>
          </a:xfrm>
          <a:prstGeom prst="rect">
            <a:avLst/>
          </a:prstGeom>
          <a:solidFill>
            <a:schemeClr val="bg2"/>
          </a:solidFill>
          <a:ln w="9525" cap="flat" cmpd="sng" algn="ctr">
            <a:noFill/>
            <a:prstDash val="solid"/>
          </a:ln>
          <a:effectLst/>
        </p:spPr>
        <p:txBody>
          <a:bodyPr lIns="68580" tIns="34291" rIns="68580" bIns="34291"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Firewall</a:t>
            </a:r>
          </a:p>
        </p:txBody>
      </p:sp>
      <p:sp>
        <p:nvSpPr>
          <p:cNvPr id="170" name="Rectangle 169"/>
          <p:cNvSpPr/>
          <p:nvPr/>
        </p:nvSpPr>
        <p:spPr>
          <a:xfrm>
            <a:off x="8547222" y="1911822"/>
            <a:ext cx="1229000" cy="480060"/>
          </a:xfrm>
          <a:prstGeom prst="rect">
            <a:avLst/>
          </a:prstGeom>
          <a:noFill/>
          <a:ln w="9525" cap="flat" cmpd="sng" algn="ctr">
            <a:noFill/>
            <a:prstDash val="solid"/>
          </a:ln>
          <a:effectLst/>
        </p:spPr>
        <p:txBody>
          <a:bodyPr lIns="68580" tIns="0" rIns="6858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150" fontAlgn="base">
              <a:spcAft>
                <a:spcPct val="0"/>
              </a:spcAft>
            </a:pPr>
            <a:r>
              <a:rPr lang="en-US" sz="1500" dirty="0">
                <a:gradFill>
                  <a:gsLst>
                    <a:gs pos="0">
                      <a:schemeClr val="tx1"/>
                    </a:gs>
                    <a:gs pos="100000">
                      <a:schemeClr val="tx1"/>
                    </a:gs>
                  </a:gsLst>
                  <a:lin ang="5400000" scaled="0"/>
                </a:gradFill>
                <a:ea typeface="Kozuka Gothic Pro R" pitchFamily="34" charset="-128"/>
              </a:rPr>
              <a:t>Web </a:t>
            </a:r>
            <a:br>
              <a:rPr lang="en-US" sz="1500" dirty="0">
                <a:gradFill>
                  <a:gsLst>
                    <a:gs pos="0">
                      <a:schemeClr val="tx1"/>
                    </a:gs>
                    <a:gs pos="100000">
                      <a:schemeClr val="tx1"/>
                    </a:gs>
                  </a:gsLst>
                  <a:lin ang="5400000" scaled="0"/>
                </a:gradFill>
                <a:ea typeface="Kozuka Gothic Pro R" pitchFamily="34" charset="-128"/>
              </a:rPr>
            </a:br>
            <a:r>
              <a:rPr lang="en-US" sz="1500" dirty="0">
                <a:gradFill>
                  <a:gsLst>
                    <a:gs pos="0">
                      <a:schemeClr val="tx1"/>
                    </a:gs>
                    <a:gs pos="100000">
                      <a:schemeClr val="tx1"/>
                    </a:gs>
                  </a:gsLst>
                  <a:lin ang="5400000" scaled="0"/>
                </a:gradFill>
                <a:ea typeface="Kozuka Gothic Pro R" pitchFamily="34" charset="-128"/>
              </a:rPr>
              <a:t>Sites</a:t>
            </a:r>
          </a:p>
        </p:txBody>
      </p:sp>
      <p:sp>
        <p:nvSpPr>
          <p:cNvPr id="180" name="Rectangle 179"/>
          <p:cNvSpPr/>
          <p:nvPr/>
        </p:nvSpPr>
        <p:spPr>
          <a:xfrm>
            <a:off x="8547222" y="2446834"/>
            <a:ext cx="1229000" cy="285750"/>
          </a:xfrm>
          <a:prstGeom prst="rect">
            <a:avLst/>
          </a:prstGeom>
          <a:solidFill>
            <a:schemeClr val="accent2"/>
          </a:solidFill>
          <a:ln w="9525" cap="flat" cmpd="sng" algn="ctr">
            <a:noFill/>
            <a:prstDash val="solid"/>
          </a:ln>
          <a:effectLst/>
        </p:spPr>
        <p:txBody>
          <a:bodyPr lIns="0" tIns="34291" rIns="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82" name="Rectangle 181"/>
          <p:cNvSpPr/>
          <p:nvPr/>
        </p:nvSpPr>
        <p:spPr>
          <a:xfrm>
            <a:off x="8547222" y="2787948"/>
            <a:ext cx="1229000" cy="285750"/>
          </a:xfrm>
          <a:prstGeom prst="rect">
            <a:avLst/>
          </a:prstGeom>
          <a:solidFill>
            <a:schemeClr val="accent2"/>
          </a:solidFill>
          <a:ln w="9525" cap="flat" cmpd="sng" algn="ctr">
            <a:noFill/>
            <a:prstDash val="solid"/>
          </a:ln>
          <a:effectLst/>
        </p:spPr>
        <p:txBody>
          <a:bodyPr lIns="0" tIns="34291" rIns="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154" name="Rectangle 153"/>
          <p:cNvSpPr/>
          <p:nvPr/>
        </p:nvSpPr>
        <p:spPr>
          <a:xfrm>
            <a:off x="6629297" y="1911822"/>
            <a:ext cx="1229000" cy="480060"/>
          </a:xfrm>
          <a:prstGeom prst="rect">
            <a:avLst/>
          </a:prstGeom>
          <a:noFill/>
          <a:ln w="9525" cap="flat" cmpd="sng" algn="ctr">
            <a:noFill/>
            <a:prstDash val="solid"/>
          </a:ln>
          <a:effectLst/>
        </p:spPr>
        <p:txBody>
          <a:bodyPr lIns="68580" tIns="0" rIns="6858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150" fontAlgn="base">
              <a:spcAft>
                <a:spcPct val="0"/>
              </a:spcAft>
            </a:pPr>
            <a:r>
              <a:rPr lang="en-US" sz="1500" dirty="0">
                <a:gradFill>
                  <a:gsLst>
                    <a:gs pos="0">
                      <a:schemeClr val="tx1"/>
                    </a:gs>
                    <a:gs pos="100000">
                      <a:schemeClr val="tx1"/>
                    </a:gs>
                  </a:gsLst>
                  <a:lin ang="5400000" scaled="0"/>
                </a:gradFill>
                <a:ea typeface="Kozuka Gothic Pro R" pitchFamily="34" charset="-128"/>
              </a:rPr>
              <a:t>Cloud Services</a:t>
            </a:r>
            <a:endParaRPr lang="en-US" sz="1200" dirty="0">
              <a:gradFill>
                <a:gsLst>
                  <a:gs pos="0">
                    <a:schemeClr val="tx1"/>
                  </a:gs>
                  <a:gs pos="100000">
                    <a:schemeClr val="tx1"/>
                  </a:gs>
                </a:gsLst>
                <a:lin ang="5400000" scaled="0"/>
              </a:gradFill>
              <a:ea typeface="Kozuka Gothic Pro R" pitchFamily="34" charset="-128"/>
            </a:endParaRPr>
          </a:p>
        </p:txBody>
      </p:sp>
      <p:sp>
        <p:nvSpPr>
          <p:cNvPr id="166" name="Rectangle 165"/>
          <p:cNvSpPr/>
          <p:nvPr/>
        </p:nvSpPr>
        <p:spPr>
          <a:xfrm>
            <a:off x="6629296" y="2446836"/>
            <a:ext cx="1229000" cy="285750"/>
          </a:xfrm>
          <a:prstGeom prst="rect">
            <a:avLst/>
          </a:prstGeom>
          <a:solidFill>
            <a:schemeClr val="accent1"/>
          </a:solidFill>
          <a:ln w="9525" cap="flat" cmpd="sng" algn="ctr">
            <a:noFill/>
            <a:prstDash val="solid"/>
          </a:ln>
          <a:effectLst/>
        </p:spPr>
        <p:txBody>
          <a:bodyPr lIns="68580" tIns="34291" rIns="6858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67" name="Rectangle 166"/>
          <p:cNvSpPr/>
          <p:nvPr/>
        </p:nvSpPr>
        <p:spPr>
          <a:xfrm>
            <a:off x="6629296" y="3146214"/>
            <a:ext cx="1229000" cy="285750"/>
          </a:xfrm>
          <a:prstGeom prst="rect">
            <a:avLst/>
          </a:prstGeom>
          <a:solidFill>
            <a:schemeClr val="accent1"/>
          </a:solidFill>
          <a:ln w="9525" cap="flat" cmpd="sng" algn="ctr">
            <a:noFill/>
            <a:prstDash val="solid"/>
          </a:ln>
          <a:effectLst/>
        </p:spPr>
        <p:txBody>
          <a:bodyPr lIns="0" tIns="34291" rIns="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168" name="Rectangle 167"/>
          <p:cNvSpPr/>
          <p:nvPr/>
        </p:nvSpPr>
        <p:spPr>
          <a:xfrm>
            <a:off x="6629296" y="2787950"/>
            <a:ext cx="1229000" cy="285750"/>
          </a:xfrm>
          <a:prstGeom prst="rect">
            <a:avLst/>
          </a:prstGeom>
          <a:solidFill>
            <a:schemeClr val="accent1"/>
          </a:solidFill>
          <a:ln w="9525" cap="flat" cmpd="sng" algn="ctr">
            <a:noFill/>
            <a:prstDash val="solid"/>
          </a:ln>
          <a:effectLst/>
        </p:spPr>
        <p:txBody>
          <a:bodyPr lIns="68580" tIns="34291" rIns="6858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77" name="Rectangle 76"/>
          <p:cNvSpPr/>
          <p:nvPr/>
        </p:nvSpPr>
        <p:spPr>
          <a:xfrm>
            <a:off x="6629296" y="3496506"/>
            <a:ext cx="1229000" cy="285750"/>
          </a:xfrm>
          <a:prstGeom prst="rect">
            <a:avLst/>
          </a:prstGeom>
          <a:solidFill>
            <a:schemeClr val="accent1"/>
          </a:solidFill>
          <a:ln w="9525" cap="flat" cmpd="sng" algn="ctr">
            <a:noFill/>
            <a:prstDash val="solid"/>
          </a:ln>
          <a:effectLst/>
        </p:spPr>
        <p:txBody>
          <a:bodyPr lIns="0" tIns="34291" rIns="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38" name="Rectangle 137"/>
          <p:cNvSpPr/>
          <p:nvPr/>
        </p:nvSpPr>
        <p:spPr>
          <a:xfrm>
            <a:off x="4716615" y="1911822"/>
            <a:ext cx="1229001" cy="480060"/>
          </a:xfrm>
          <a:prstGeom prst="rect">
            <a:avLst/>
          </a:prstGeom>
          <a:noFill/>
          <a:ln w="9525" cap="flat" cmpd="sng" algn="ctr">
            <a:noFill/>
            <a:prstDash val="solid"/>
          </a:ln>
          <a:effectLst/>
        </p:spPr>
        <p:txBody>
          <a:bodyPr lIns="68580" tIns="0" rIns="6858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150" fontAlgn="base">
              <a:spcAft>
                <a:spcPct val="0"/>
              </a:spcAft>
            </a:pPr>
            <a:r>
              <a:rPr lang="en-US" sz="1500" dirty="0">
                <a:gradFill>
                  <a:gsLst>
                    <a:gs pos="0">
                      <a:schemeClr val="tx1"/>
                    </a:gs>
                    <a:gs pos="100000">
                      <a:schemeClr val="tx1"/>
                    </a:gs>
                  </a:gsLst>
                  <a:lin ang="5400000" scaled="0"/>
                </a:gradFill>
                <a:ea typeface="Kozuka Gothic Pro R" pitchFamily="34" charset="-128"/>
              </a:rPr>
              <a:t>Virtual Machines</a:t>
            </a:r>
            <a:endParaRPr lang="en-US" sz="1200" dirty="0">
              <a:gradFill>
                <a:gsLst>
                  <a:gs pos="0">
                    <a:schemeClr val="tx1"/>
                  </a:gs>
                  <a:gs pos="100000">
                    <a:schemeClr val="tx1"/>
                  </a:gs>
                </a:gsLst>
                <a:lin ang="5400000" scaled="0"/>
              </a:gradFill>
              <a:ea typeface="Kozuka Gothic Pro R" pitchFamily="34" charset="-128"/>
            </a:endParaRPr>
          </a:p>
        </p:txBody>
      </p:sp>
      <p:sp>
        <p:nvSpPr>
          <p:cNvPr id="149" name="Rectangle 148"/>
          <p:cNvSpPr/>
          <p:nvPr/>
        </p:nvSpPr>
        <p:spPr>
          <a:xfrm>
            <a:off x="4716615" y="3482915"/>
            <a:ext cx="1229001" cy="285750"/>
          </a:xfrm>
          <a:prstGeom prst="rect">
            <a:avLst/>
          </a:prstGeom>
          <a:solidFill>
            <a:schemeClr val="accent5"/>
          </a:solidFill>
          <a:ln w="9525" cap="flat" cmpd="sng" algn="ctr">
            <a:noFill/>
            <a:prstDash val="solid"/>
          </a:ln>
          <a:effectLst/>
        </p:spPr>
        <p:txBody>
          <a:bodyPr lIns="0" tIns="34291" rIns="0" bIns="34291" rtlCol="0" anchor="ctr"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Virtual Network</a:t>
            </a:r>
          </a:p>
        </p:txBody>
      </p:sp>
      <p:sp>
        <p:nvSpPr>
          <p:cNvPr id="150" name="Rectangle 149"/>
          <p:cNvSpPr/>
          <p:nvPr/>
        </p:nvSpPr>
        <p:spPr>
          <a:xfrm>
            <a:off x="4716615" y="2787950"/>
            <a:ext cx="1229001" cy="285750"/>
          </a:xfrm>
          <a:prstGeom prst="rect">
            <a:avLst/>
          </a:prstGeom>
          <a:solidFill>
            <a:schemeClr val="accent5"/>
          </a:solidFill>
          <a:ln w="9525" cap="flat" cmpd="sng" algn="ctr">
            <a:noFill/>
            <a:prstDash val="solid"/>
          </a:ln>
          <a:effectLst/>
        </p:spPr>
        <p:txBody>
          <a:bodyPr lIns="68580" tIns="34291" rIns="6858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Data</a:t>
            </a:r>
          </a:p>
        </p:txBody>
      </p:sp>
      <p:sp>
        <p:nvSpPr>
          <p:cNvPr id="151" name="Rectangle 150"/>
          <p:cNvSpPr/>
          <p:nvPr/>
        </p:nvSpPr>
        <p:spPr>
          <a:xfrm>
            <a:off x="4716615" y="2446837"/>
            <a:ext cx="1229001" cy="285750"/>
          </a:xfrm>
          <a:prstGeom prst="rect">
            <a:avLst/>
          </a:prstGeom>
          <a:solidFill>
            <a:schemeClr val="accent5"/>
          </a:solidFill>
          <a:ln w="9525" cap="flat" cmpd="sng" algn="ctr">
            <a:noFill/>
            <a:prstDash val="solid"/>
          </a:ln>
          <a:effectLst/>
        </p:spPr>
        <p:txBody>
          <a:bodyPr lIns="68580" tIns="34291" rIns="6858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Applications</a:t>
            </a:r>
          </a:p>
        </p:txBody>
      </p:sp>
      <p:sp>
        <p:nvSpPr>
          <p:cNvPr id="152" name="Rectangle 151"/>
          <p:cNvSpPr/>
          <p:nvPr/>
        </p:nvSpPr>
        <p:spPr>
          <a:xfrm>
            <a:off x="4716615" y="3141802"/>
            <a:ext cx="1229001" cy="285750"/>
          </a:xfrm>
          <a:prstGeom prst="rect">
            <a:avLst/>
          </a:prstGeom>
          <a:solidFill>
            <a:schemeClr val="accent5"/>
          </a:solidFill>
          <a:ln w="9525" cap="flat" cmpd="sng" algn="ctr">
            <a:noFill/>
            <a:prstDash val="solid"/>
          </a:ln>
          <a:effectLst/>
        </p:spPr>
        <p:txBody>
          <a:bodyPr lIns="68580" tIns="34291" rIns="6858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Firewall Rules</a:t>
            </a:r>
          </a:p>
        </p:txBody>
      </p:sp>
      <p:sp>
        <p:nvSpPr>
          <p:cNvPr id="71" name="Rectangle 70"/>
          <p:cNvSpPr/>
          <p:nvPr/>
        </p:nvSpPr>
        <p:spPr>
          <a:xfrm>
            <a:off x="4716615" y="3824030"/>
            <a:ext cx="1229001" cy="285750"/>
          </a:xfrm>
          <a:prstGeom prst="rect">
            <a:avLst/>
          </a:prstGeom>
          <a:solidFill>
            <a:schemeClr val="accent5"/>
          </a:solidFill>
          <a:ln w="9525" cap="flat" cmpd="sng" algn="ctr">
            <a:noFill/>
            <a:prstDash val="solid"/>
          </a:ln>
          <a:effectLst/>
        </p:spPr>
        <p:txBody>
          <a:bodyPr lIns="68580" tIns="34291" rIns="68580" bIns="34291" rtlCol="0" anchor="ctr" anchorCtr="0"/>
          <a:lstStyle/>
          <a:p>
            <a:pPr algn="ctr" defTabSz="914225"/>
            <a:r>
              <a:rPr lang="en-US" sz="1100" dirty="0">
                <a:gradFill>
                  <a:gsLst>
                    <a:gs pos="0">
                      <a:srgbClr val="FFFFFF"/>
                    </a:gs>
                    <a:gs pos="100000">
                      <a:srgbClr val="FFFFFF"/>
                    </a:gs>
                  </a:gsLst>
                  <a:lin ang="5400000" scaled="0"/>
                </a:gradFill>
                <a:ea typeface="Segoe UI" pitchFamily="34" charset="0"/>
                <a:cs typeface="Segoe UI" pitchFamily="34" charset="0"/>
              </a:rPr>
              <a:t>O/S</a:t>
            </a:r>
          </a:p>
        </p:txBody>
      </p:sp>
      <p:sp>
        <p:nvSpPr>
          <p:cNvPr id="41" name="Pentagon 40"/>
          <p:cNvSpPr/>
          <p:nvPr/>
        </p:nvSpPr>
        <p:spPr bwMode="auto">
          <a:xfrm>
            <a:off x="1970810" y="5322355"/>
            <a:ext cx="8146215" cy="506949"/>
          </a:xfrm>
          <a:prstGeom prst="homePlat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1" tIns="34291" rIns="34291" bIns="34291" numCol="1" spcCol="0" rtlCol="0" fromWordArt="0" anchor="ctr" anchorCtr="0" forceAA="0" compatLnSpc="1">
            <a:prstTxWarp prst="textNoShape">
              <a:avLst/>
            </a:prstTxWarp>
            <a:noAutofit/>
          </a:bodyPr>
          <a:lstStyle/>
          <a:p>
            <a:pPr algn="ctr" defTabSz="685591" fontAlgn="base">
              <a:spcBef>
                <a:spcPct val="0"/>
              </a:spcBef>
              <a:spcAft>
                <a:spcPct val="0"/>
              </a:spcAft>
            </a:pPr>
            <a:r>
              <a:rPr lang="zh-TW" altLang="en-US" sz="2400" dirty="0">
                <a:gradFill>
                  <a:gsLst>
                    <a:gs pos="0">
                      <a:srgbClr val="FFFFFF"/>
                    </a:gs>
                    <a:gs pos="100000">
                      <a:srgbClr val="FFFFFF"/>
                    </a:gs>
                  </a:gsLst>
                  <a:lin ang="5400000" scaled="0"/>
                </a:gradFill>
                <a:ea typeface="Segoe UI" pitchFamily="34" charset="0"/>
                <a:cs typeface="Segoe UI" pitchFamily="34" charset="0"/>
              </a:rPr>
              <a:t>專注於應用系統</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1026" name="Picture 2" descr="C:\Users\Jonahs\Dropbox\Critical Resources\Helveticons Basic\Png\512x512\Company 512x512.png"/>
          <p:cNvPicPr>
            <a:picLocks noChangeAspect="1" noChangeArrowheads="1"/>
          </p:cNvPicPr>
          <p:nvPr/>
        </p:nvPicPr>
        <p:blipFill>
          <a:blip r:embed="rId8" cstate="email">
            <a:duotone>
              <a:prstClr val="black"/>
              <a:schemeClr val="bg2">
                <a:lumMod val="10000"/>
                <a:tint val="45000"/>
                <a:satMod val="400000"/>
              </a:schemeClr>
            </a:duotone>
            <a:extLst>
              <a:ext uri="{BEBA8EAE-BF5A-486C-A8C5-ECC9F3942E4B}">
                <a14:imgProps xmlns:a14="http://schemas.microsoft.com/office/drawing/2010/main">
                  <a14:imgLayer r:embed="rId9">
                    <a14:imgEffect>
                      <a14:colorTemperature colorTemp="11500"/>
                    </a14:imgEffect>
                    <a14:imgEffect>
                      <a14:saturation sat="400000"/>
                    </a14:imgEffect>
                    <a14:imgEffect>
                      <a14:brightnessContrast bright="100000" contrast="-76000"/>
                    </a14:imgEffect>
                  </a14:imgLayer>
                </a14:imgProps>
              </a:ext>
              <a:ext uri="{28A0092B-C50C-407E-A947-70E740481C1C}">
                <a14:useLocalDpi xmlns:a14="http://schemas.microsoft.com/office/drawing/2010/main"/>
              </a:ext>
            </a:extLst>
          </a:blip>
          <a:srcRect/>
          <a:stretch>
            <a:fillRect/>
          </a:stretch>
        </p:blipFill>
        <p:spPr bwMode="auto">
          <a:xfrm>
            <a:off x="1970805" y="4431934"/>
            <a:ext cx="769418" cy="76921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4243415" y="1548154"/>
            <a:ext cx="0" cy="357951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Left Brace 2"/>
          <p:cNvSpPr/>
          <p:nvPr/>
        </p:nvSpPr>
        <p:spPr>
          <a:xfrm rot="5400000">
            <a:off x="7029573" y="-245702"/>
            <a:ext cx="333745" cy="3930566"/>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68580" tIns="34291" rIns="68580" bIns="34291" rtlCol="0" anchor="ctr"/>
          <a:lstStyle/>
          <a:p>
            <a:pPr algn="ctr"/>
            <a:endParaRPr lang="en-US" sz="2400"/>
          </a:p>
        </p:txBody>
      </p:sp>
      <p:sp>
        <p:nvSpPr>
          <p:cNvPr id="38" name="Rectangle 37"/>
          <p:cNvSpPr/>
          <p:nvPr/>
        </p:nvSpPr>
        <p:spPr>
          <a:xfrm>
            <a:off x="6197600" y="996159"/>
            <a:ext cx="1985990" cy="480060"/>
          </a:xfrm>
          <a:prstGeom prst="rect">
            <a:avLst/>
          </a:prstGeom>
          <a:noFill/>
          <a:ln w="9525" cap="flat" cmpd="sng" algn="ctr">
            <a:noFill/>
            <a:prstDash val="solid"/>
          </a:ln>
          <a:effectLst/>
        </p:spPr>
        <p:txBody>
          <a:bodyPr lIns="0" tIns="0" rIns="0" bIns="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914150" fontAlgn="base">
              <a:spcAft>
                <a:spcPct val="0"/>
              </a:spcAft>
            </a:pPr>
            <a:r>
              <a:rPr lang="en-US" altLang="zh-TW" sz="2400" dirty="0">
                <a:gradFill>
                  <a:gsLst>
                    <a:gs pos="0">
                      <a:schemeClr val="tx1"/>
                    </a:gs>
                    <a:gs pos="100000">
                      <a:schemeClr val="tx1"/>
                    </a:gs>
                  </a:gsLst>
                  <a:lin ang="5400000" scaled="0"/>
                </a:gradFill>
                <a:ea typeface="Kozuka Gothic Pro R" pitchFamily="34" charset="-128"/>
              </a:rPr>
              <a:t>Microsoft</a:t>
            </a:r>
            <a:r>
              <a:rPr lang="en-US" sz="2400" dirty="0">
                <a:gradFill>
                  <a:gsLst>
                    <a:gs pos="0">
                      <a:schemeClr val="tx1"/>
                    </a:gs>
                    <a:gs pos="100000">
                      <a:schemeClr val="tx1"/>
                    </a:gs>
                  </a:gsLst>
                  <a:lin ang="5400000" scaled="0"/>
                </a:gradFill>
                <a:ea typeface="Kozuka Gothic Pro R" pitchFamily="34" charset="-128"/>
              </a:rPr>
              <a:t> Azure</a:t>
            </a:r>
          </a:p>
        </p:txBody>
      </p:sp>
    </p:spTree>
    <p:extLst>
      <p:ext uri="{BB962C8B-B14F-4D97-AF65-F5344CB8AC3E}">
        <p14:creationId xmlns:p14="http://schemas.microsoft.com/office/powerpoint/2010/main" val="233547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4"/>
                                        </p:tgtEl>
                                        <p:attrNameLst>
                                          <p:attrName>style.visibility</p:attrName>
                                        </p:attrNameLst>
                                      </p:cBhvr>
                                      <p:to>
                                        <p:strVal val="visible"/>
                                      </p:to>
                                    </p:set>
                                    <p:animEffect transition="in" filter="fade">
                                      <p:cBhvr>
                                        <p:cTn id="19" dur="500"/>
                                        <p:tgtEl>
                                          <p:spTgt spid="12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134"/>
                                        </p:tgtEl>
                                        <p:attrNameLst>
                                          <p:attrName>style.visibility</p:attrName>
                                        </p:attrNameLst>
                                      </p:cBhvr>
                                      <p:to>
                                        <p:strVal val="visible"/>
                                      </p:to>
                                    </p:set>
                                    <p:animEffect transition="in" filter="fade">
                                      <p:cBhvr>
                                        <p:cTn id="34" dur="500"/>
                                        <p:tgtEl>
                                          <p:spTgt spid="134"/>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500"/>
                                        <p:tgtEl>
                                          <p:spTgt spid="136"/>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133"/>
                                        </p:tgtEl>
                                        <p:attrNameLst>
                                          <p:attrName>style.visibility</p:attrName>
                                        </p:attrNameLst>
                                      </p:cBhvr>
                                      <p:to>
                                        <p:strVal val="visible"/>
                                      </p:to>
                                    </p:set>
                                    <p:animEffect transition="in" filter="fade">
                                      <p:cBhvr>
                                        <p:cTn id="40" dur="500"/>
                                        <p:tgtEl>
                                          <p:spTgt spid="133"/>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29"/>
                                        </p:tgtEl>
                                        <p:attrNameLst>
                                          <p:attrName>style.visibility</p:attrName>
                                        </p:attrNameLst>
                                      </p:cBhvr>
                                      <p:to>
                                        <p:strVal val="visible"/>
                                      </p:to>
                                    </p:set>
                                    <p:animEffect transition="in" filter="fade">
                                      <p:cBhvr>
                                        <p:cTn id="43" dur="500"/>
                                        <p:tgtEl>
                                          <p:spTgt spid="12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128"/>
                                        </p:tgtEl>
                                        <p:attrNameLst>
                                          <p:attrName>style.visibility</p:attrName>
                                        </p:attrNameLst>
                                      </p:cBhvr>
                                      <p:to>
                                        <p:strVal val="visible"/>
                                      </p:to>
                                    </p:set>
                                    <p:animEffect transition="in" filter="fade">
                                      <p:cBhvr>
                                        <p:cTn id="46" dur="500"/>
                                        <p:tgtEl>
                                          <p:spTgt spid="128"/>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130"/>
                                        </p:tgtEl>
                                        <p:attrNameLst>
                                          <p:attrName>style.visibility</p:attrName>
                                        </p:attrNameLst>
                                      </p:cBhvr>
                                      <p:to>
                                        <p:strVal val="visible"/>
                                      </p:to>
                                    </p:set>
                                    <p:animEffect transition="in" filter="fade">
                                      <p:cBhvr>
                                        <p:cTn id="49" dur="500"/>
                                        <p:tgtEl>
                                          <p:spTgt spid="13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38"/>
                                        </p:tgtEl>
                                        <p:attrNameLst>
                                          <p:attrName>style.visibility</p:attrName>
                                        </p:attrNameLst>
                                      </p:cBhvr>
                                      <p:to>
                                        <p:strVal val="visible"/>
                                      </p:to>
                                    </p:set>
                                    <p:animEffect transition="in" filter="fade">
                                      <p:cBhvr>
                                        <p:cTn id="54" dur="500"/>
                                        <p:tgtEl>
                                          <p:spTgt spid="138"/>
                                        </p:tgtEl>
                                      </p:cBhvr>
                                    </p:animEffect>
                                  </p:childTnLst>
                                </p:cTn>
                              </p:par>
                              <p:par>
                                <p:cTn id="55" presetID="10" presetClass="entr" presetSubtype="0" fill="hold" grpId="0" nodeType="withEffect">
                                  <p:stCondLst>
                                    <p:cond delay="250"/>
                                  </p:stCondLst>
                                  <p:childTnLst>
                                    <p:set>
                                      <p:cBhvr>
                                        <p:cTn id="56" dur="1" fill="hold">
                                          <p:stCondLst>
                                            <p:cond delay="0"/>
                                          </p:stCondLst>
                                        </p:cTn>
                                        <p:tgtEl>
                                          <p:spTgt spid="151"/>
                                        </p:tgtEl>
                                        <p:attrNameLst>
                                          <p:attrName>style.visibility</p:attrName>
                                        </p:attrNameLst>
                                      </p:cBhvr>
                                      <p:to>
                                        <p:strVal val="visible"/>
                                      </p:to>
                                    </p:set>
                                    <p:animEffect transition="in" filter="fade">
                                      <p:cBhvr>
                                        <p:cTn id="57" dur="500"/>
                                        <p:tgtEl>
                                          <p:spTgt spid="151"/>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150"/>
                                        </p:tgtEl>
                                        <p:attrNameLst>
                                          <p:attrName>style.visibility</p:attrName>
                                        </p:attrNameLst>
                                      </p:cBhvr>
                                      <p:to>
                                        <p:strVal val="visible"/>
                                      </p:to>
                                    </p:set>
                                    <p:animEffect transition="in" filter="fade">
                                      <p:cBhvr>
                                        <p:cTn id="60" dur="500"/>
                                        <p:tgtEl>
                                          <p:spTgt spid="150"/>
                                        </p:tgtEl>
                                      </p:cBhvr>
                                    </p:animEffect>
                                  </p:childTnLst>
                                </p:cTn>
                              </p:par>
                              <p:par>
                                <p:cTn id="61" presetID="10" presetClass="entr" presetSubtype="0" fill="hold" grpId="0" nodeType="withEffect">
                                  <p:stCondLst>
                                    <p:cond delay="750"/>
                                  </p:stCondLst>
                                  <p:childTnLst>
                                    <p:set>
                                      <p:cBhvr>
                                        <p:cTn id="62" dur="1" fill="hold">
                                          <p:stCondLst>
                                            <p:cond delay="0"/>
                                          </p:stCondLst>
                                        </p:cTn>
                                        <p:tgtEl>
                                          <p:spTgt spid="152"/>
                                        </p:tgtEl>
                                        <p:attrNameLst>
                                          <p:attrName>style.visibility</p:attrName>
                                        </p:attrNameLst>
                                      </p:cBhvr>
                                      <p:to>
                                        <p:strVal val="visible"/>
                                      </p:to>
                                    </p:set>
                                    <p:animEffect transition="in" filter="fade">
                                      <p:cBhvr>
                                        <p:cTn id="63" dur="500"/>
                                        <p:tgtEl>
                                          <p:spTgt spid="152"/>
                                        </p:tgtEl>
                                      </p:cBhvr>
                                    </p:animEffect>
                                  </p:childTnLst>
                                </p:cTn>
                              </p:par>
                              <p:par>
                                <p:cTn id="64" presetID="10" presetClass="entr" presetSubtype="0" fill="hold" grpId="0" nodeType="withEffect">
                                  <p:stCondLst>
                                    <p:cond delay="1000"/>
                                  </p:stCondLst>
                                  <p:childTnLst>
                                    <p:set>
                                      <p:cBhvr>
                                        <p:cTn id="65" dur="1" fill="hold">
                                          <p:stCondLst>
                                            <p:cond delay="0"/>
                                          </p:stCondLst>
                                        </p:cTn>
                                        <p:tgtEl>
                                          <p:spTgt spid="149"/>
                                        </p:tgtEl>
                                        <p:attrNameLst>
                                          <p:attrName>style.visibility</p:attrName>
                                        </p:attrNameLst>
                                      </p:cBhvr>
                                      <p:to>
                                        <p:strVal val="visible"/>
                                      </p:to>
                                    </p:set>
                                    <p:animEffect transition="in" filter="fade">
                                      <p:cBhvr>
                                        <p:cTn id="66" dur="500"/>
                                        <p:tgtEl>
                                          <p:spTgt spid="149"/>
                                        </p:tgtEl>
                                      </p:cBhvr>
                                    </p:animEffect>
                                  </p:childTnLst>
                                </p:cTn>
                              </p:par>
                              <p:par>
                                <p:cTn id="67" presetID="10" presetClass="entr" presetSubtype="0" fill="hold" grpId="0" nodeType="withEffect">
                                  <p:stCondLst>
                                    <p:cond delay="1250"/>
                                  </p:stCondLst>
                                  <p:childTnLst>
                                    <p:set>
                                      <p:cBhvr>
                                        <p:cTn id="68" dur="1" fill="hold">
                                          <p:stCondLst>
                                            <p:cond delay="0"/>
                                          </p:stCondLst>
                                        </p:cTn>
                                        <p:tgtEl>
                                          <p:spTgt spid="71"/>
                                        </p:tgtEl>
                                        <p:attrNameLst>
                                          <p:attrName>style.visibility</p:attrName>
                                        </p:attrNameLst>
                                      </p:cBhvr>
                                      <p:to>
                                        <p:strVal val="visible"/>
                                      </p:to>
                                    </p:set>
                                    <p:animEffect transition="in" filter="fade">
                                      <p:cBhvr>
                                        <p:cTn id="69" dur="500"/>
                                        <p:tgtEl>
                                          <p:spTgt spid="7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54"/>
                                        </p:tgtEl>
                                        <p:attrNameLst>
                                          <p:attrName>style.visibility</p:attrName>
                                        </p:attrNameLst>
                                      </p:cBhvr>
                                      <p:to>
                                        <p:strVal val="visible"/>
                                      </p:to>
                                    </p:set>
                                    <p:animEffect transition="in" filter="fade">
                                      <p:cBhvr>
                                        <p:cTn id="74" dur="500"/>
                                        <p:tgtEl>
                                          <p:spTgt spid="154"/>
                                        </p:tgtEl>
                                      </p:cBhvr>
                                    </p:animEffect>
                                  </p:childTnLst>
                                </p:cTn>
                              </p:par>
                              <p:par>
                                <p:cTn id="75" presetID="10" presetClass="entr" presetSubtype="0" fill="hold" grpId="0" nodeType="withEffect">
                                  <p:stCondLst>
                                    <p:cond delay="250"/>
                                  </p:stCondLst>
                                  <p:childTnLst>
                                    <p:set>
                                      <p:cBhvr>
                                        <p:cTn id="76" dur="1" fill="hold">
                                          <p:stCondLst>
                                            <p:cond delay="0"/>
                                          </p:stCondLst>
                                        </p:cTn>
                                        <p:tgtEl>
                                          <p:spTgt spid="166"/>
                                        </p:tgtEl>
                                        <p:attrNameLst>
                                          <p:attrName>style.visibility</p:attrName>
                                        </p:attrNameLst>
                                      </p:cBhvr>
                                      <p:to>
                                        <p:strVal val="visible"/>
                                      </p:to>
                                    </p:set>
                                    <p:animEffect transition="in" filter="fade">
                                      <p:cBhvr>
                                        <p:cTn id="77" dur="500"/>
                                        <p:tgtEl>
                                          <p:spTgt spid="166"/>
                                        </p:tgtEl>
                                      </p:cBhvr>
                                    </p:animEffect>
                                  </p:childTnLst>
                                </p:cTn>
                              </p:par>
                              <p:par>
                                <p:cTn id="78" presetID="10" presetClass="entr" presetSubtype="0" fill="hold" grpId="0" nodeType="withEffect">
                                  <p:stCondLst>
                                    <p:cond delay="500"/>
                                  </p:stCondLst>
                                  <p:childTnLst>
                                    <p:set>
                                      <p:cBhvr>
                                        <p:cTn id="79" dur="1" fill="hold">
                                          <p:stCondLst>
                                            <p:cond delay="0"/>
                                          </p:stCondLst>
                                        </p:cTn>
                                        <p:tgtEl>
                                          <p:spTgt spid="168"/>
                                        </p:tgtEl>
                                        <p:attrNameLst>
                                          <p:attrName>style.visibility</p:attrName>
                                        </p:attrNameLst>
                                      </p:cBhvr>
                                      <p:to>
                                        <p:strVal val="visible"/>
                                      </p:to>
                                    </p:set>
                                    <p:animEffect transition="in" filter="fade">
                                      <p:cBhvr>
                                        <p:cTn id="80" dur="500"/>
                                        <p:tgtEl>
                                          <p:spTgt spid="168"/>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167"/>
                                        </p:tgtEl>
                                        <p:attrNameLst>
                                          <p:attrName>style.visibility</p:attrName>
                                        </p:attrNameLst>
                                      </p:cBhvr>
                                      <p:to>
                                        <p:strVal val="visible"/>
                                      </p:to>
                                    </p:set>
                                    <p:animEffect transition="in" filter="fade">
                                      <p:cBhvr>
                                        <p:cTn id="83" dur="500"/>
                                        <p:tgtEl>
                                          <p:spTgt spid="167"/>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7"/>
                                        </p:tgtEl>
                                        <p:attrNameLst>
                                          <p:attrName>style.visibility</p:attrName>
                                        </p:attrNameLst>
                                      </p:cBhvr>
                                      <p:to>
                                        <p:strVal val="visible"/>
                                      </p:to>
                                    </p:set>
                                    <p:animEffect transition="in" filter="fade">
                                      <p:cBhvr>
                                        <p:cTn id="86" dur="500"/>
                                        <p:tgtEl>
                                          <p:spTgt spid="77"/>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70"/>
                                        </p:tgtEl>
                                        <p:attrNameLst>
                                          <p:attrName>style.visibility</p:attrName>
                                        </p:attrNameLst>
                                      </p:cBhvr>
                                      <p:to>
                                        <p:strVal val="visible"/>
                                      </p:to>
                                    </p:set>
                                    <p:animEffect transition="in" filter="fade">
                                      <p:cBhvr>
                                        <p:cTn id="91" dur="500"/>
                                        <p:tgtEl>
                                          <p:spTgt spid="170"/>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180"/>
                                        </p:tgtEl>
                                        <p:attrNameLst>
                                          <p:attrName>style.visibility</p:attrName>
                                        </p:attrNameLst>
                                      </p:cBhvr>
                                      <p:to>
                                        <p:strVal val="visible"/>
                                      </p:to>
                                    </p:set>
                                    <p:animEffect transition="in" filter="fade">
                                      <p:cBhvr>
                                        <p:cTn id="94" dur="500"/>
                                        <p:tgtEl>
                                          <p:spTgt spid="180"/>
                                        </p:tgtEl>
                                      </p:cBhvr>
                                    </p:animEffect>
                                  </p:childTnLst>
                                </p:cTn>
                              </p:par>
                              <p:par>
                                <p:cTn id="95" presetID="10" presetClass="entr" presetSubtype="0" fill="hold" grpId="0" nodeType="withEffect">
                                  <p:stCondLst>
                                    <p:cond delay="500"/>
                                  </p:stCondLst>
                                  <p:childTnLst>
                                    <p:set>
                                      <p:cBhvr>
                                        <p:cTn id="96" dur="1" fill="hold">
                                          <p:stCondLst>
                                            <p:cond delay="0"/>
                                          </p:stCondLst>
                                        </p:cTn>
                                        <p:tgtEl>
                                          <p:spTgt spid="182"/>
                                        </p:tgtEl>
                                        <p:attrNameLst>
                                          <p:attrName>style.visibility</p:attrName>
                                        </p:attrNameLst>
                                      </p:cBhvr>
                                      <p:to>
                                        <p:strVal val="visible"/>
                                      </p:to>
                                    </p:set>
                                    <p:animEffect transition="in" filter="fade">
                                      <p:cBhvr>
                                        <p:cTn id="97" dur="500"/>
                                        <p:tgtEl>
                                          <p:spTgt spid="182"/>
                                        </p:tgtEl>
                                      </p:cBhvr>
                                    </p:animEffect>
                                  </p:childTnLst>
                                </p:cTn>
                              </p:par>
                              <p:par>
                                <p:cTn id="98" presetID="22" presetClass="entr" presetSubtype="8" fill="hold" grpId="0" nodeType="withEffect">
                                  <p:stCondLst>
                                    <p:cond delay="50"/>
                                  </p:stCondLst>
                                  <p:childTnLst>
                                    <p:set>
                                      <p:cBhvr>
                                        <p:cTn id="99" dur="1" fill="hold">
                                          <p:stCondLst>
                                            <p:cond delay="0"/>
                                          </p:stCondLst>
                                        </p:cTn>
                                        <p:tgtEl>
                                          <p:spTgt spid="41"/>
                                        </p:tgtEl>
                                        <p:attrNameLst>
                                          <p:attrName>style.visibility</p:attrName>
                                        </p:attrNameLst>
                                      </p:cBhvr>
                                      <p:to>
                                        <p:strVal val="visible"/>
                                      </p:to>
                                    </p:set>
                                    <p:animEffect transition="in" filter="wipe(left)">
                                      <p:cBhvr>
                                        <p:cTn id="100" dur="22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P spid="128" grpId="0" animBg="1"/>
      <p:bldP spid="129" grpId="0" animBg="1"/>
      <p:bldP spid="130" grpId="0" animBg="1"/>
      <p:bldP spid="133" grpId="0" animBg="1"/>
      <p:bldP spid="134" grpId="0" animBg="1"/>
      <p:bldP spid="135" grpId="0" animBg="1"/>
      <p:bldP spid="136" grpId="0" animBg="1"/>
      <p:bldP spid="170" grpId="0"/>
      <p:bldP spid="180" grpId="0" animBg="1"/>
      <p:bldP spid="182" grpId="0" animBg="1"/>
      <p:bldP spid="154" grpId="0"/>
      <p:bldP spid="166" grpId="0" animBg="1"/>
      <p:bldP spid="167" grpId="0" animBg="1"/>
      <p:bldP spid="168" grpId="0" animBg="1"/>
      <p:bldP spid="77" grpId="0" animBg="1"/>
      <p:bldP spid="138" grpId="0"/>
      <p:bldP spid="149" grpId="0" animBg="1"/>
      <p:bldP spid="150" grpId="0" animBg="1"/>
      <p:bldP spid="151" grpId="0" animBg="1"/>
      <p:bldP spid="152" grpId="0" animBg="1"/>
      <p:bldP spid="71" grpId="0" animBg="1"/>
      <p:bldP spid="41" grpId="0" animBg="1"/>
      <p:bldP spid="3" grpId="0" animBg="1"/>
      <p:bldP spid="3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5236435" y="2281274"/>
            <a:ext cx="4778381"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089025" algn="l"/>
              </a:tabLst>
            </a:pPr>
            <a:r>
              <a:rPr dirty="0">
                <a:solidFill>
                  <a:srgbClr val="FFFFFF"/>
                </a:solidFill>
                <a:latin typeface="+mj-lt"/>
              </a:rPr>
              <a:t>virtual machines</a:t>
            </a:r>
          </a:p>
        </p:txBody>
      </p:sp>
      <p:sp>
        <p:nvSpPr>
          <p:cNvPr id="13" name="Content Placeholder 2"/>
          <p:cNvSpPr>
            <a:spLocks noGrp="1"/>
          </p:cNvSpPr>
          <p:nvPr>
            <p:ph type="body" sz="quarter" idx="10"/>
          </p:nvPr>
        </p:nvSpPr>
        <p:spPr>
          <a:xfrm>
            <a:off x="5268687" y="3197088"/>
            <a:ext cx="5148942" cy="1895904"/>
          </a:xfrm>
        </p:spPr>
        <p:txBody>
          <a:bodyPr/>
          <a:lstStyle/>
          <a:p>
            <a:pPr marL="460375" indent="-457200">
              <a:lnSpc>
                <a:spcPct val="100000"/>
              </a:lnSpc>
              <a:buFont typeface="Wingdings" pitchFamily="2" charset="2"/>
              <a:buChar char="ß"/>
            </a:pPr>
            <a:r>
              <a:rPr lang="zh-TW" altLang="en-US" sz="2800" dirty="0">
                <a:solidFill>
                  <a:schemeClr val="accent1">
                    <a:lumMod val="20000"/>
                    <a:lumOff val="80000"/>
                    <a:alpha val="99000"/>
                  </a:schemeClr>
                </a:solidFill>
              </a:rPr>
              <a:t>支援 </a:t>
            </a:r>
            <a:r>
              <a:rPr lang="en-US" sz="2800" dirty="0">
                <a:solidFill>
                  <a:schemeClr val="accent1">
                    <a:lumMod val="20000"/>
                    <a:lumOff val="80000"/>
                    <a:alpha val="99000"/>
                  </a:schemeClr>
                </a:solidFill>
                <a:latin typeface="+mn-lt"/>
              </a:rPr>
              <a:t>Windows Server </a:t>
            </a:r>
            <a:r>
              <a:rPr lang="zh-TW" altLang="en-US" sz="2800" dirty="0">
                <a:solidFill>
                  <a:schemeClr val="accent1">
                    <a:lumMod val="20000"/>
                    <a:lumOff val="80000"/>
                    <a:alpha val="99000"/>
                  </a:schemeClr>
                </a:solidFill>
              </a:rPr>
              <a:t>與</a:t>
            </a:r>
            <a:r>
              <a:rPr lang="en-US" sz="2800" dirty="0">
                <a:solidFill>
                  <a:schemeClr val="accent1">
                    <a:lumMod val="20000"/>
                    <a:lumOff val="80000"/>
                    <a:alpha val="99000"/>
                  </a:schemeClr>
                </a:solidFill>
                <a:latin typeface="+mn-lt"/>
              </a:rPr>
              <a:t>Linux</a:t>
            </a:r>
          </a:p>
          <a:p>
            <a:pPr marL="460375" indent="-457200">
              <a:lnSpc>
                <a:spcPct val="100000"/>
              </a:lnSpc>
              <a:buFont typeface="Wingdings" pitchFamily="2" charset="2"/>
              <a:buChar char="ß"/>
            </a:pPr>
            <a:r>
              <a:rPr lang="zh-TW" altLang="en-US" sz="2800" dirty="0">
                <a:solidFill>
                  <a:schemeClr val="accent1">
                    <a:lumMod val="20000"/>
                    <a:lumOff val="80000"/>
                    <a:alpha val="99000"/>
                  </a:schemeClr>
                </a:solidFill>
              </a:rPr>
              <a:t>彈性調整運算需求</a:t>
            </a:r>
            <a:endParaRPr lang="en-US" altLang="zh-TW" sz="2800" dirty="0">
              <a:solidFill>
                <a:schemeClr val="accent1">
                  <a:lumMod val="20000"/>
                  <a:lumOff val="80000"/>
                  <a:alpha val="99000"/>
                </a:schemeClr>
              </a:solidFill>
            </a:endParaRPr>
          </a:p>
          <a:p>
            <a:pPr marL="460375" indent="-457200">
              <a:lnSpc>
                <a:spcPct val="100000"/>
              </a:lnSpc>
              <a:buFont typeface="Wingdings" pitchFamily="2" charset="2"/>
              <a:buChar char="ß"/>
            </a:pPr>
            <a:r>
              <a:rPr lang="zh-TW" altLang="en-US" sz="2800" dirty="0">
                <a:solidFill>
                  <a:schemeClr val="accent1">
                    <a:lumMod val="20000"/>
                    <a:lumOff val="80000"/>
                    <a:alpha val="99000"/>
                  </a:schemeClr>
                </a:solidFill>
              </a:rPr>
              <a:t>支援虛擬私有網路 </a:t>
            </a:r>
            <a:r>
              <a:rPr lang="en-US" altLang="zh-TW" sz="2800" dirty="0">
                <a:solidFill>
                  <a:schemeClr val="accent1">
                    <a:lumMod val="20000"/>
                    <a:lumOff val="80000"/>
                    <a:alpha val="99000"/>
                  </a:schemeClr>
                </a:solidFill>
              </a:rPr>
              <a:t>VPN</a:t>
            </a:r>
            <a:r>
              <a:rPr lang="zh-TW" altLang="en-US" sz="2800" dirty="0">
                <a:solidFill>
                  <a:schemeClr val="accent1">
                    <a:lumMod val="20000"/>
                    <a:lumOff val="80000"/>
                    <a:alpha val="99000"/>
                  </a:schemeClr>
                </a:solidFill>
              </a:rPr>
              <a:t> </a:t>
            </a:r>
            <a:r>
              <a:rPr lang="en-US" altLang="zh-TW" sz="2800" dirty="0">
                <a:solidFill>
                  <a:schemeClr val="accent1">
                    <a:lumMod val="20000"/>
                    <a:lumOff val="80000"/>
                    <a:alpha val="99000"/>
                  </a:schemeClr>
                </a:solidFill>
              </a:rPr>
              <a:t>(</a:t>
            </a:r>
            <a:r>
              <a:rPr lang="en-US" sz="2800" dirty="0">
                <a:solidFill>
                  <a:schemeClr val="accent1">
                    <a:lumMod val="20000"/>
                    <a:lumOff val="80000"/>
                    <a:alpha val="99000"/>
                  </a:schemeClr>
                </a:solidFill>
                <a:latin typeface="+mn-lt"/>
              </a:rPr>
              <a:t>Virtual Private Networking</a:t>
            </a:r>
            <a:r>
              <a:rPr lang="en-US" altLang="zh-TW" sz="2800" dirty="0">
                <a:solidFill>
                  <a:schemeClr val="accent1">
                    <a:lumMod val="20000"/>
                    <a:lumOff val="80000"/>
                    <a:alpha val="99000"/>
                  </a:schemeClr>
                </a:solidFill>
                <a:latin typeface="+mn-lt"/>
              </a:rPr>
              <a:t>)</a:t>
            </a:r>
            <a:endParaRPr lang="en-US" sz="2800" dirty="0">
              <a:solidFill>
                <a:schemeClr val="accent1">
                  <a:lumMod val="20000"/>
                  <a:lumOff val="80000"/>
                  <a:alpha val="99000"/>
                </a:schemeClr>
              </a:solidFill>
              <a:latin typeface="+mn-lt"/>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60658" y="2178242"/>
            <a:ext cx="2086354" cy="2781081"/>
          </a:xfrm>
          <a:prstGeom prst="rect">
            <a:avLst/>
          </a:prstGeom>
        </p:spPr>
      </p:pic>
    </p:spTree>
    <p:extLst>
      <p:ext uri="{BB962C8B-B14F-4D97-AF65-F5344CB8AC3E}">
        <p14:creationId xmlns:p14="http://schemas.microsoft.com/office/powerpoint/2010/main" val="3074733166"/>
      </p:ext>
    </p:extLst>
  </p:cSld>
  <p:clrMapOvr>
    <a:masterClrMapping/>
  </p:clrMapOvr>
  <p:transition>
    <p:strips dir="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3">
                                            <p:txEl>
                                              <p:pRg st="1" end="1"/>
                                            </p:txEl>
                                          </p:spTgt>
                                        </p:tgtEl>
                                        <p:attrNameLst>
                                          <p:attrName>style.visibility</p:attrName>
                                        </p:attrNameLst>
                                      </p:cBhvr>
                                      <p:to>
                                        <p:strVal val="visible"/>
                                      </p:to>
                                    </p:set>
                                    <p:animEffect transition="in" filter="fade">
                                      <p:cBhvr>
                                        <p:cTn id="19" dur="250"/>
                                        <p:tgtEl>
                                          <p:spTgt spid="13">
                                            <p:txEl>
                                              <p:pRg st="1" end="1"/>
                                            </p:txEl>
                                          </p:spTgt>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fade">
                                      <p:cBhvr>
                                        <p:cTn id="23"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3"/>
          <p:cNvSpPr txBox="1">
            <a:spLocks/>
          </p:cNvSpPr>
          <p:nvPr/>
        </p:nvSpPr>
        <p:spPr>
          <a:xfrm>
            <a:off x="2480914" y="3060385"/>
            <a:ext cx="7260624" cy="1191095"/>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zh-TW" altLang="en-US" dirty="0">
                <a:solidFill>
                  <a:srgbClr val="FFFFFF"/>
                </a:solidFill>
              </a:rPr>
              <a:t>虛擬機器可攜性</a:t>
            </a:r>
            <a:endParaRPr lang="en-US" altLang="zh-TW" dirty="0">
              <a:solidFill>
                <a:srgbClr val="FFFFFF"/>
              </a:solidFill>
            </a:endParaRPr>
          </a:p>
          <a:p>
            <a:pPr algn="ctr"/>
            <a:r>
              <a:rPr sz="3200" dirty="0">
                <a:solidFill>
                  <a:srgbClr val="FFFFFF"/>
                </a:solidFill>
                <a:latin typeface="+mn-lt"/>
              </a:rPr>
              <a:t>virtual machine portability</a:t>
            </a:r>
          </a:p>
        </p:txBody>
      </p:sp>
    </p:spTree>
    <p:extLst>
      <p:ext uri="{BB962C8B-B14F-4D97-AF65-F5344CB8AC3E}">
        <p14:creationId xmlns:p14="http://schemas.microsoft.com/office/powerpoint/2010/main" val="3300544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dt1RAufEC2Oooefq5U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F8x3y_mk.7X5dGGc63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IzzvVZl0yCiago.jv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ue_Medium_4x3_Template">
  <a:themeElements>
    <a:clrScheme name="Cloud Computing">
      <a:dk1>
        <a:srgbClr val="000000"/>
      </a:dk1>
      <a:lt1>
        <a:srgbClr val="FFFFFF"/>
      </a:lt1>
      <a:dk2>
        <a:srgbClr val="0F4173"/>
      </a:dk2>
      <a:lt2>
        <a:srgbClr val="D2CCCE"/>
      </a:lt2>
      <a:accent1>
        <a:srgbClr val="609CE4"/>
      </a:accent1>
      <a:accent2>
        <a:srgbClr val="F0C570"/>
      </a:accent2>
      <a:accent3>
        <a:srgbClr val="3E65BC"/>
      </a:accent3>
      <a:accent4>
        <a:srgbClr val="7F8182"/>
      </a:accent4>
      <a:accent5>
        <a:srgbClr val="AD4C66"/>
      </a:accent5>
      <a:accent6>
        <a:srgbClr val="1F915B"/>
      </a:accent6>
      <a:hlink>
        <a:srgbClr val="B9E4FF"/>
      </a:hlink>
      <a:folHlink>
        <a:srgbClr val="B9E4FF"/>
      </a:folHlink>
    </a:clrScheme>
    <a:fontScheme name="Tom Lee 自訂">
      <a:majorFont>
        <a:latin typeface="Cambria"/>
        <a:ea typeface="微軟正黑體"/>
        <a:cs typeface=""/>
      </a:majorFont>
      <a:minorFont>
        <a:latin typeface="Calibri"/>
        <a:ea typeface="微軟正黑體"/>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1">
          <a:schemeClr val="accent3"/>
        </a:lnRef>
        <a:fillRef idx="3">
          <a:schemeClr val="accent3"/>
        </a:fillRef>
        <a:effectRef idx="2">
          <a:schemeClr val="accent3"/>
        </a:effectRef>
        <a:fontRef idx="minor">
          <a:schemeClr val="lt1"/>
        </a:fontRef>
      </a:style>
    </a:spDef>
    <a:txDef>
      <a:spPr>
        <a:noFill/>
      </a:spPr>
      <a:bodyPr wrap="none" lIns="0" tIns="0" rIns="0" bIns="0" rtlCol="0">
        <a:spAutoFit/>
      </a:bodyPr>
      <a:lstStyle>
        <a:defPPr>
          <a:defRPr dirty="0" err="1" smtClean="0">
            <a:gradFill>
              <a:gsLst>
                <a:gs pos="0">
                  <a:schemeClr val="tx1"/>
                </a:gs>
                <a:gs pos="100000">
                  <a:schemeClr val="tx1"/>
                </a:gs>
              </a:gsLst>
              <a:lin ang="16200000" scaled="0"/>
            </a:gradFill>
            <a:latin typeface="Segoe UI" pitchFamily="34" charset="0"/>
          </a:defRPr>
        </a:defPPr>
      </a:lstStyle>
    </a:txDef>
  </a:objectDefaults>
  <a:extraClrSchemeLst/>
</a:theme>
</file>

<file path=ppt/theme/theme2.xml><?xml version="1.0" encoding="utf-8"?>
<a:theme xmlns:a="http://schemas.openxmlformats.org/drawingml/2006/main" name="4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3.xml><?xml version="1.0" encoding="utf-8"?>
<a:theme xmlns:a="http://schemas.openxmlformats.org/drawingml/2006/main" name="5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4.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5.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30</TotalTime>
  <Words>1537</Words>
  <Application>Microsoft Office PowerPoint</Application>
  <PresentationFormat>自訂</PresentationFormat>
  <Paragraphs>299</Paragraphs>
  <Slides>22</Slides>
  <Notes>14</Notes>
  <HiddenSlides>0</HiddenSlides>
  <MMClips>0</MMClips>
  <ScaleCrop>false</ScaleCrop>
  <HeadingPairs>
    <vt:vector size="6" baseType="variant">
      <vt:variant>
        <vt:lpstr>佈景主題</vt:lpstr>
      </vt:variant>
      <vt:variant>
        <vt:i4>6</vt:i4>
      </vt:variant>
      <vt:variant>
        <vt:lpstr>內嵌 OLE 伺服程式</vt:lpstr>
      </vt:variant>
      <vt:variant>
        <vt:i4>2</vt:i4>
      </vt:variant>
      <vt:variant>
        <vt:lpstr>投影片標題</vt:lpstr>
      </vt:variant>
      <vt:variant>
        <vt:i4>22</vt:i4>
      </vt:variant>
    </vt:vector>
  </HeadingPairs>
  <TitlesOfParts>
    <vt:vector size="30" baseType="lpstr">
      <vt:lpstr>1_Blue_Medium_4x3_Template</vt:lpstr>
      <vt:lpstr>4_3-30070_Windows_Server_Management_Marketing_Template_16x9</vt:lpstr>
      <vt:lpstr>5_3-30070_Windows_Server_Management_Marketing_Template_16x9</vt:lpstr>
      <vt:lpstr>3-30070_Windows_Server_Management_Marketing_Template_16x9</vt:lpstr>
      <vt:lpstr>1_3-30070_Windows_Server_Management_Marketing_Template_16x9</vt:lpstr>
      <vt:lpstr>Office Theme</vt:lpstr>
      <vt:lpstr>think-cell Slide</vt:lpstr>
      <vt:lpstr>Bitmap Image</vt:lpstr>
      <vt:lpstr>微軟雲端技術分享 -開南大學導入 Azure 打造零抱怨網路選課系統 </vt:lpstr>
      <vt:lpstr>PowerPoint 簡報</vt:lpstr>
      <vt:lpstr>Microsoft Cloud</vt:lpstr>
      <vt:lpstr>Consistent experiences across the Cloud OS</vt:lpstr>
      <vt:lpstr>Microsoft Azure 跨國資料中心</vt:lpstr>
      <vt:lpstr>Microsoft Azure 與各項資安標準</vt:lpstr>
      <vt:lpstr>PowerPoint 簡報</vt:lpstr>
      <vt:lpstr>PowerPoint 簡報</vt:lpstr>
      <vt:lpstr>PowerPoint 簡報</vt:lpstr>
      <vt:lpstr>PowerPoint 簡報</vt:lpstr>
      <vt:lpstr>Extend your infrastructure</vt:lpstr>
      <vt:lpstr>Extend your infrastructure</vt:lpstr>
      <vt:lpstr>Extend your infrastructure</vt:lpstr>
      <vt:lpstr>Extend your infrastructure</vt:lpstr>
      <vt:lpstr>其他應用</vt:lpstr>
      <vt:lpstr>Windows Azure Pack可快速建立自助雲端平台</vt:lpstr>
      <vt:lpstr>Windows Azure Pack使用情境</vt:lpstr>
      <vt:lpstr>自助式雲端服務平台</vt:lpstr>
      <vt:lpstr>開發人員可使用此平台產生網站</vt:lpstr>
      <vt:lpstr>資料庫人員可使用此平台產生Database</vt:lpstr>
      <vt:lpstr>PowerPoint 簡報</vt:lpstr>
      <vt:lpstr>PowerPoint 簡報</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ning the Cloud with Partners</dc:title>
  <dc:creator>ncliu</dc:creator>
  <cp:lastModifiedBy>蔡怡萱</cp:lastModifiedBy>
  <cp:revision>293</cp:revision>
  <dcterms:created xsi:type="dcterms:W3CDTF">2009-10-06T17:55:53Z</dcterms:created>
  <dcterms:modified xsi:type="dcterms:W3CDTF">2014-06-09T05:49:24Z</dcterms:modified>
</cp:coreProperties>
</file>